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9"/>
  </p:notesMasterIdLst>
  <p:sldIdLst>
    <p:sldId id="270" r:id="rId5"/>
    <p:sldId id="281" r:id="rId6"/>
    <p:sldId id="326" r:id="rId7"/>
    <p:sldId id="325" r:id="rId8"/>
  </p:sldIdLst>
  <p:sldSz cx="10691813" cy="7559675"/>
  <p:notesSz cx="6858000" cy="9144000"/>
  <p:custDataLst>
    <p:tags r:id="rId10"/>
  </p:custDataLst>
  <p:defaultTextStyle>
    <a:defPPr>
      <a:defRPr lang="en-US"/>
    </a:defPPr>
    <a:lvl1pPr marL="0" algn="l" defTabSz="1042873" rtl="0" eaLnBrk="1" latinLnBrk="0" hangingPunct="1">
      <a:defRPr sz="2053" kern="1200">
        <a:solidFill>
          <a:schemeClr val="tx1"/>
        </a:solidFill>
        <a:latin typeface="+mn-lt"/>
        <a:ea typeface="+mn-ea"/>
        <a:cs typeface="+mn-cs"/>
      </a:defRPr>
    </a:lvl1pPr>
    <a:lvl2pPr marL="521437" algn="l" defTabSz="1042873" rtl="0" eaLnBrk="1" latinLnBrk="0" hangingPunct="1">
      <a:defRPr sz="2053" kern="1200">
        <a:solidFill>
          <a:schemeClr val="tx1"/>
        </a:solidFill>
        <a:latin typeface="+mn-lt"/>
        <a:ea typeface="+mn-ea"/>
        <a:cs typeface="+mn-cs"/>
      </a:defRPr>
    </a:lvl2pPr>
    <a:lvl3pPr marL="1042873" algn="l" defTabSz="1042873" rtl="0" eaLnBrk="1" latinLnBrk="0" hangingPunct="1">
      <a:defRPr sz="2053" kern="1200">
        <a:solidFill>
          <a:schemeClr val="tx1"/>
        </a:solidFill>
        <a:latin typeface="+mn-lt"/>
        <a:ea typeface="+mn-ea"/>
        <a:cs typeface="+mn-cs"/>
      </a:defRPr>
    </a:lvl3pPr>
    <a:lvl4pPr marL="1564310" algn="l" defTabSz="1042873" rtl="0" eaLnBrk="1" latinLnBrk="0" hangingPunct="1">
      <a:defRPr sz="2053" kern="1200">
        <a:solidFill>
          <a:schemeClr val="tx1"/>
        </a:solidFill>
        <a:latin typeface="+mn-lt"/>
        <a:ea typeface="+mn-ea"/>
        <a:cs typeface="+mn-cs"/>
      </a:defRPr>
    </a:lvl4pPr>
    <a:lvl5pPr marL="2085746" algn="l" defTabSz="1042873" rtl="0" eaLnBrk="1" latinLnBrk="0" hangingPunct="1">
      <a:defRPr sz="2053" kern="1200">
        <a:solidFill>
          <a:schemeClr val="tx1"/>
        </a:solidFill>
        <a:latin typeface="+mn-lt"/>
        <a:ea typeface="+mn-ea"/>
        <a:cs typeface="+mn-cs"/>
      </a:defRPr>
    </a:lvl5pPr>
    <a:lvl6pPr marL="2607183" algn="l" defTabSz="1042873" rtl="0" eaLnBrk="1" latinLnBrk="0" hangingPunct="1">
      <a:defRPr sz="2053" kern="1200">
        <a:solidFill>
          <a:schemeClr val="tx1"/>
        </a:solidFill>
        <a:latin typeface="+mn-lt"/>
        <a:ea typeface="+mn-ea"/>
        <a:cs typeface="+mn-cs"/>
      </a:defRPr>
    </a:lvl6pPr>
    <a:lvl7pPr marL="3128620" algn="l" defTabSz="1042873" rtl="0" eaLnBrk="1" latinLnBrk="0" hangingPunct="1">
      <a:defRPr sz="2053" kern="1200">
        <a:solidFill>
          <a:schemeClr val="tx1"/>
        </a:solidFill>
        <a:latin typeface="+mn-lt"/>
        <a:ea typeface="+mn-ea"/>
        <a:cs typeface="+mn-cs"/>
      </a:defRPr>
    </a:lvl7pPr>
    <a:lvl8pPr marL="3650056" algn="l" defTabSz="1042873" rtl="0" eaLnBrk="1" latinLnBrk="0" hangingPunct="1">
      <a:defRPr sz="2053" kern="1200">
        <a:solidFill>
          <a:schemeClr val="tx1"/>
        </a:solidFill>
        <a:latin typeface="+mn-lt"/>
        <a:ea typeface="+mn-ea"/>
        <a:cs typeface="+mn-cs"/>
      </a:defRPr>
    </a:lvl8pPr>
    <a:lvl9pPr marL="4171493" algn="l" defTabSz="1042873" rtl="0" eaLnBrk="1" latinLnBrk="0" hangingPunct="1">
      <a:defRPr sz="2053"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5738F1C-A413-E01A-F0B5-F57097FC5C94}" name="Alannah Tran" initials="AT" userId="S::Alannah.Tran@nousgroup.com.au::ca071bd6-a585-4695-914d-bc8a7ace886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7D7D"/>
    <a:srgbClr val="7F0D82"/>
    <a:srgbClr val="53565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EB2AEA8-3CFF-4D3C-9A57-24FB59443A5E}" v="2" dt="2023-07-31T01:05:29.03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99" autoAdjust="0"/>
    <p:restoredTop sz="86441" autoAdjust="0"/>
  </p:normalViewPr>
  <p:slideViewPr>
    <p:cSldViewPr snapToGrid="0">
      <p:cViewPr varScale="1">
        <p:scale>
          <a:sx n="94" d="100"/>
          <a:sy n="94" d="100"/>
        </p:scale>
        <p:origin x="2213" y="62"/>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17" Type="http://schemas.microsoft.com/office/2018/10/relationships/authors" Target="author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6/11/relationships/changesInfo" Target="changesInfos/changesInfo1.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annah Tran" userId="ca071bd6-a585-4695-914d-bc8a7ace8862" providerId="ADAL" clId="{5EB2AEA8-3CFF-4D3C-9A57-24FB59443A5E}"/>
    <pc:docChg chg="modSld">
      <pc:chgData name="Alannah Tran" userId="ca071bd6-a585-4695-914d-bc8a7ace8862" providerId="ADAL" clId="{5EB2AEA8-3CFF-4D3C-9A57-24FB59443A5E}" dt="2023-07-31T01:05:15.187" v="1"/>
      <pc:docMkLst>
        <pc:docMk/>
      </pc:docMkLst>
      <pc:sldChg chg="modSp mod">
        <pc:chgData name="Alannah Tran" userId="ca071bd6-a585-4695-914d-bc8a7ace8862" providerId="ADAL" clId="{5EB2AEA8-3CFF-4D3C-9A57-24FB59443A5E}" dt="2023-07-31T01:05:15.187" v="1"/>
        <pc:sldMkLst>
          <pc:docMk/>
          <pc:sldMk cId="598509592" sldId="270"/>
        </pc:sldMkLst>
        <pc:graphicFrameChg chg="mod modVis">
          <ac:chgData name="Alannah Tran" userId="ca071bd6-a585-4695-914d-bc8a7ace8862" providerId="ADAL" clId="{5EB2AEA8-3CFF-4D3C-9A57-24FB59443A5E}" dt="2023-07-31T01:05:15.187" v="1"/>
          <ac:graphicFrameMkLst>
            <pc:docMk/>
            <pc:sldMk cId="598509592" sldId="270"/>
            <ac:graphicFrameMk id="3" creationId="{15604A4C-4281-361D-7CB5-94F4E1B60FB6}"/>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CCD3B2-4D7A-4E7B-BDA7-2DB5BDD53175}" type="datetimeFigureOut">
              <a:rPr lang="en-AU" smtClean="0"/>
              <a:t>31/07/2023</a:t>
            </a:fld>
            <a:endParaRPr lang="en-AU"/>
          </a:p>
        </p:txBody>
      </p:sp>
      <p:sp>
        <p:nvSpPr>
          <p:cNvPr id="4" name="Slide Image Placeholder 3"/>
          <p:cNvSpPr>
            <a:spLocks noGrp="1" noRot="1" noChangeAspect="1"/>
          </p:cNvSpPr>
          <p:nvPr>
            <p:ph type="sldImg" idx="2"/>
          </p:nvPr>
        </p:nvSpPr>
        <p:spPr>
          <a:xfrm>
            <a:off x="1247775" y="1143000"/>
            <a:ext cx="436245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4C1774-FB25-401F-8CDD-2DAF6D4705F7}" type="slidenum">
              <a:rPr lang="en-AU" smtClean="0"/>
              <a:t>‹#›</a:t>
            </a:fld>
            <a:endParaRPr lang="en-AU"/>
          </a:p>
        </p:txBody>
      </p:sp>
    </p:spTree>
    <p:extLst>
      <p:ext uri="{BB962C8B-B14F-4D97-AF65-F5344CB8AC3E}">
        <p14:creationId xmlns:p14="http://schemas.microsoft.com/office/powerpoint/2010/main" val="3989712793"/>
      </p:ext>
    </p:extLst>
  </p:cSld>
  <p:clrMap bg1="lt1" tx1="dk1" bg2="lt2" tx2="dk2" accent1="accent1" accent2="accent2" accent3="accent3" accent4="accent4" accent5="accent5" accent6="accent6" hlink="hlink" folHlink="folHlink"/>
  <p:notesStyle>
    <a:lvl1pPr marL="0" algn="l" defTabSz="1042873" rtl="0" eaLnBrk="1" latinLnBrk="0" hangingPunct="1">
      <a:defRPr sz="1369" kern="1200">
        <a:solidFill>
          <a:schemeClr val="tx1"/>
        </a:solidFill>
        <a:latin typeface="+mn-lt"/>
        <a:ea typeface="+mn-ea"/>
        <a:cs typeface="+mn-cs"/>
      </a:defRPr>
    </a:lvl1pPr>
    <a:lvl2pPr marL="521437" algn="l" defTabSz="1042873" rtl="0" eaLnBrk="1" latinLnBrk="0" hangingPunct="1">
      <a:defRPr sz="1369" kern="1200">
        <a:solidFill>
          <a:schemeClr val="tx1"/>
        </a:solidFill>
        <a:latin typeface="+mn-lt"/>
        <a:ea typeface="+mn-ea"/>
        <a:cs typeface="+mn-cs"/>
      </a:defRPr>
    </a:lvl2pPr>
    <a:lvl3pPr marL="1042873" algn="l" defTabSz="1042873" rtl="0" eaLnBrk="1" latinLnBrk="0" hangingPunct="1">
      <a:defRPr sz="1369" kern="1200">
        <a:solidFill>
          <a:schemeClr val="tx1"/>
        </a:solidFill>
        <a:latin typeface="+mn-lt"/>
        <a:ea typeface="+mn-ea"/>
        <a:cs typeface="+mn-cs"/>
      </a:defRPr>
    </a:lvl3pPr>
    <a:lvl4pPr marL="1564310" algn="l" defTabSz="1042873" rtl="0" eaLnBrk="1" latinLnBrk="0" hangingPunct="1">
      <a:defRPr sz="1369" kern="1200">
        <a:solidFill>
          <a:schemeClr val="tx1"/>
        </a:solidFill>
        <a:latin typeface="+mn-lt"/>
        <a:ea typeface="+mn-ea"/>
        <a:cs typeface="+mn-cs"/>
      </a:defRPr>
    </a:lvl4pPr>
    <a:lvl5pPr marL="2085746" algn="l" defTabSz="1042873" rtl="0" eaLnBrk="1" latinLnBrk="0" hangingPunct="1">
      <a:defRPr sz="1369" kern="1200">
        <a:solidFill>
          <a:schemeClr val="tx1"/>
        </a:solidFill>
        <a:latin typeface="+mn-lt"/>
        <a:ea typeface="+mn-ea"/>
        <a:cs typeface="+mn-cs"/>
      </a:defRPr>
    </a:lvl5pPr>
    <a:lvl6pPr marL="2607183" algn="l" defTabSz="1042873" rtl="0" eaLnBrk="1" latinLnBrk="0" hangingPunct="1">
      <a:defRPr sz="1369" kern="1200">
        <a:solidFill>
          <a:schemeClr val="tx1"/>
        </a:solidFill>
        <a:latin typeface="+mn-lt"/>
        <a:ea typeface="+mn-ea"/>
        <a:cs typeface="+mn-cs"/>
      </a:defRPr>
    </a:lvl6pPr>
    <a:lvl7pPr marL="3128620" algn="l" defTabSz="1042873" rtl="0" eaLnBrk="1" latinLnBrk="0" hangingPunct="1">
      <a:defRPr sz="1369" kern="1200">
        <a:solidFill>
          <a:schemeClr val="tx1"/>
        </a:solidFill>
        <a:latin typeface="+mn-lt"/>
        <a:ea typeface="+mn-ea"/>
        <a:cs typeface="+mn-cs"/>
      </a:defRPr>
    </a:lvl7pPr>
    <a:lvl8pPr marL="3650056" algn="l" defTabSz="1042873" rtl="0" eaLnBrk="1" latinLnBrk="0" hangingPunct="1">
      <a:defRPr sz="1369" kern="1200">
        <a:solidFill>
          <a:schemeClr val="tx1"/>
        </a:solidFill>
        <a:latin typeface="+mn-lt"/>
        <a:ea typeface="+mn-ea"/>
        <a:cs typeface="+mn-cs"/>
      </a:defRPr>
    </a:lvl8pPr>
    <a:lvl9pPr marL="4171493" algn="l" defTabSz="1042873" rtl="0" eaLnBrk="1" latinLnBrk="0" hangingPunct="1">
      <a:defRPr sz="136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E2C0CB5-59E8-4F90-B170-7BD09AD757BA}" type="slidenum">
              <a:rPr lang="en-AU" smtClean="0"/>
              <a:t>1</a:t>
            </a:fld>
            <a:endParaRPr lang="en-AU"/>
          </a:p>
        </p:txBody>
      </p:sp>
    </p:spTree>
    <p:extLst>
      <p:ext uri="{BB962C8B-B14F-4D97-AF65-F5344CB8AC3E}">
        <p14:creationId xmlns:p14="http://schemas.microsoft.com/office/powerpoint/2010/main" val="19694610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4E2C0CB5-59E8-4F90-B170-7BD09AD757BA}" type="slidenum">
              <a:rPr lang="en-AU" smtClean="0"/>
              <a:t>2</a:t>
            </a:fld>
            <a:endParaRPr lang="en-AU"/>
          </a:p>
        </p:txBody>
      </p:sp>
    </p:spTree>
    <p:extLst>
      <p:ext uri="{BB962C8B-B14F-4D97-AF65-F5344CB8AC3E}">
        <p14:creationId xmlns:p14="http://schemas.microsoft.com/office/powerpoint/2010/main" val="30665325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slide" Target="../slides/slide3.xml"/><Relationship Id="rId4" Type="http://schemas.openxmlformats.org/officeDocument/2006/relationships/image" Target="../media/image5.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slide" Target="../slides/slide1.xml"/><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slide" Target="../slides/slide1.xml"/><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8F1505-58BD-8D89-BAFD-46D28C627B36}"/>
              </a:ext>
            </a:extLst>
          </p:cNvPr>
          <p:cNvGraphicFramePr>
            <a:graphicFrameLocks noChangeAspect="1"/>
          </p:cNvGraphicFramePr>
          <p:nvPr userDrawn="1">
            <p:custDataLst>
              <p:tags r:id="rId1"/>
            </p:custDataLst>
            <p:extLst>
              <p:ext uri="{D42A27DB-BD31-4B8C-83A1-F6EECF244321}">
                <p14:modId xmlns:p14="http://schemas.microsoft.com/office/powerpoint/2010/main" val="3916402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Object 1" hidden="1">
                        <a:extLst>
                          <a:ext uri="{FF2B5EF4-FFF2-40B4-BE49-F238E27FC236}">
                            <a16:creationId xmlns:a16="http://schemas.microsoft.com/office/drawing/2014/main" id="{068F1505-58BD-8D89-BAFD-46D28C627B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Free-form: Shape 50">
            <a:extLst>
              <a:ext uri="{FF2B5EF4-FFF2-40B4-BE49-F238E27FC236}">
                <a16:creationId xmlns:a16="http://schemas.microsoft.com/office/drawing/2014/main" id="{15537C9B-4C25-A668-540C-915BC5DCFBDF}"/>
              </a:ext>
            </a:extLst>
          </p:cNvPr>
          <p:cNvSpPr/>
          <p:nvPr userDrawn="1"/>
        </p:nvSpPr>
        <p:spPr>
          <a:xfrm>
            <a:off x="0" y="2461966"/>
            <a:ext cx="10699395" cy="4400882"/>
          </a:xfrm>
          <a:custGeom>
            <a:avLst/>
            <a:gdLst>
              <a:gd name="connsiteX0" fmla="*/ 0 w 8820023"/>
              <a:gd name="connsiteY0" fmla="*/ 0 h 3990721"/>
              <a:gd name="connsiteX1" fmla="*/ 8820023 w 8820023"/>
              <a:gd name="connsiteY1" fmla="*/ 0 h 3990721"/>
              <a:gd name="connsiteX2" fmla="*/ 8820023 w 8820023"/>
              <a:gd name="connsiteY2" fmla="*/ 3990721 h 3990721"/>
              <a:gd name="connsiteX3" fmla="*/ 0 w 8820023"/>
              <a:gd name="connsiteY3" fmla="*/ 3990721 h 3990721"/>
            </a:gdLst>
            <a:ahLst/>
            <a:cxnLst>
              <a:cxn ang="0">
                <a:pos x="connsiteX0" y="connsiteY0"/>
              </a:cxn>
              <a:cxn ang="0">
                <a:pos x="connsiteX1" y="connsiteY1"/>
              </a:cxn>
              <a:cxn ang="0">
                <a:pos x="connsiteX2" y="connsiteY2"/>
              </a:cxn>
              <a:cxn ang="0">
                <a:pos x="connsiteX3" y="connsiteY3"/>
              </a:cxn>
            </a:cxnLst>
            <a:rect l="l" t="t" r="r" b="b"/>
            <a:pathLst>
              <a:path w="8820023" h="3990721">
                <a:moveTo>
                  <a:pt x="0" y="0"/>
                </a:moveTo>
                <a:lnTo>
                  <a:pt x="8820023" y="0"/>
                </a:lnTo>
                <a:lnTo>
                  <a:pt x="8820023" y="3990721"/>
                </a:lnTo>
                <a:lnTo>
                  <a:pt x="0" y="3990721"/>
                </a:lnTo>
                <a:close/>
              </a:path>
            </a:pathLst>
          </a:custGeom>
          <a:solidFill>
            <a:srgbClr val="E0EDF8"/>
          </a:solidFill>
          <a:ln w="6350" cap="flat">
            <a:noFill/>
            <a:prstDash val="solid"/>
            <a:miter/>
          </a:ln>
        </p:spPr>
        <p:txBody>
          <a:bodyPr rtlCol="0" anchor="ctr"/>
          <a:lstStyle/>
          <a:p>
            <a:pPr lvl="0"/>
            <a:endParaRPr lang="en-AU" sz="2263">
              <a:solidFill>
                <a:schemeClr val="accent6"/>
              </a:solidFill>
            </a:endParaRPr>
          </a:p>
        </p:txBody>
      </p:sp>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568002" y="614693"/>
            <a:ext cx="5366953" cy="1587333"/>
          </a:xfrm>
        </p:spPr>
        <p:txBody>
          <a:bodyPr/>
          <a:lstStyle>
            <a:lvl1pPr marL="0" indent="0" algn="l">
              <a:buNone/>
              <a:defRPr sz="3417" b="0">
                <a:solidFill>
                  <a:schemeClr val="accent6"/>
                </a:solidFill>
              </a:defRPr>
            </a:lvl1pPr>
            <a:lvl2pPr marL="0" indent="0" algn="l">
              <a:buNone/>
              <a:defRPr sz="2535" b="0">
                <a:solidFill>
                  <a:schemeClr val="accent6"/>
                </a:solidFill>
              </a:defRPr>
            </a:lvl2pPr>
            <a:lvl3pPr marL="0" indent="0" algn="l">
              <a:buNone/>
              <a:defRPr sz="2535" b="0">
                <a:solidFill>
                  <a:schemeClr val="accent6"/>
                </a:solidFill>
              </a:defRPr>
            </a:lvl3pPr>
            <a:lvl4pPr marL="0" indent="0" algn="l">
              <a:buNone/>
              <a:defRPr sz="2535" b="0">
                <a:solidFill>
                  <a:schemeClr val="accent6"/>
                </a:solidFill>
              </a:defRPr>
            </a:lvl4pPr>
            <a:lvl5pPr marL="0" indent="0" algn="l">
              <a:buNone/>
              <a:defRPr sz="2535" b="0">
                <a:solidFill>
                  <a:schemeClr val="accent6"/>
                </a:solidFill>
              </a:defRPr>
            </a:lvl5pPr>
            <a:lvl6pPr marL="0" indent="0" algn="l">
              <a:buNone/>
              <a:defRPr sz="2535" b="0">
                <a:solidFill>
                  <a:schemeClr val="accent6"/>
                </a:solidFill>
              </a:defRPr>
            </a:lvl6pPr>
            <a:lvl7pPr marL="0" indent="0" algn="l">
              <a:buNone/>
              <a:defRPr sz="2535" b="0">
                <a:solidFill>
                  <a:schemeClr val="accent6"/>
                </a:solidFill>
              </a:defRPr>
            </a:lvl7pPr>
            <a:lvl8pPr marL="0" indent="0" algn="l">
              <a:buNone/>
              <a:defRPr sz="2535" b="0">
                <a:solidFill>
                  <a:schemeClr val="accent6"/>
                </a:solidFill>
              </a:defRPr>
            </a:lvl8pPr>
            <a:lvl9pPr marL="0" indent="0" algn="l">
              <a:buNone/>
              <a:defRPr sz="2535" b="0">
                <a:solidFill>
                  <a:schemeClr val="accent6"/>
                </a:solidFill>
              </a:defRPr>
            </a:lvl9pPr>
          </a:lstStyle>
          <a:p>
            <a:r>
              <a:rPr lang="en-AU" dirty="0"/>
              <a:t>Title heading-first level</a:t>
            </a:r>
            <a:endParaRPr lang="en-GB" dirty="0"/>
          </a:p>
          <a:p>
            <a:pPr lvl="1"/>
            <a:r>
              <a:rPr lang="en-US" dirty="0"/>
              <a:t>Subheading-second level</a:t>
            </a:r>
            <a:endParaRPr lang="en-GB" dirty="0"/>
          </a:p>
        </p:txBody>
      </p:sp>
      <p:sp>
        <p:nvSpPr>
          <p:cNvPr id="8" name="Footer Placeholder 7">
            <a:extLst>
              <a:ext uri="{FF2B5EF4-FFF2-40B4-BE49-F238E27FC236}">
                <a16:creationId xmlns:a16="http://schemas.microsoft.com/office/drawing/2014/main" id="{A3DD9C57-C900-FB86-2C43-875E69AA3398}"/>
              </a:ext>
            </a:extLst>
          </p:cNvPr>
          <p:cNvSpPr>
            <a:spLocks noGrp="1"/>
          </p:cNvSpPr>
          <p:nvPr>
            <p:ph type="ftr" sz="quarter" idx="11"/>
          </p:nvPr>
        </p:nvSpPr>
        <p:spPr/>
        <p:txBody>
          <a:bodyPr/>
          <a:lstStyle>
            <a:lvl1pPr>
              <a:defRPr>
                <a:solidFill>
                  <a:schemeClr val="accent6"/>
                </a:solidFill>
              </a:defRPr>
            </a:lvl1pPr>
          </a:lstStyle>
          <a:p>
            <a:r>
              <a:rPr lang="en-GB"/>
              <a:t>To add a Footer, select 'Insert &gt; Header &amp; Footer'</a:t>
            </a:r>
            <a:endParaRPr lang="en-GB" dirty="0"/>
          </a:p>
        </p:txBody>
      </p:sp>
      <p:sp>
        <p:nvSpPr>
          <p:cNvPr id="9" name="Slide Number Placeholder 8">
            <a:extLst>
              <a:ext uri="{FF2B5EF4-FFF2-40B4-BE49-F238E27FC236}">
                <a16:creationId xmlns:a16="http://schemas.microsoft.com/office/drawing/2014/main" id="{625E74D0-2044-8BDA-EA8E-0C5A69005427}"/>
              </a:ext>
            </a:extLst>
          </p:cNvPr>
          <p:cNvSpPr>
            <a:spLocks noGrp="1"/>
          </p:cNvSpPr>
          <p:nvPr>
            <p:ph type="sldNum" sz="quarter" idx="12"/>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dirty="0"/>
          </a:p>
        </p:txBody>
      </p:sp>
      <p:pic>
        <p:nvPicPr>
          <p:cNvPr id="19" name="Graphic 18">
            <a:extLst>
              <a:ext uri="{FF2B5EF4-FFF2-40B4-BE49-F238E27FC236}">
                <a16:creationId xmlns:a16="http://schemas.microsoft.com/office/drawing/2014/main" id="{28DD7BC2-4298-2530-CB9E-B3B21FD37D0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307087" y="997347"/>
            <a:ext cx="1961508" cy="567943"/>
          </a:xfrm>
          <a:prstGeom prst="rect">
            <a:avLst/>
          </a:prstGeom>
        </p:spPr>
      </p:pic>
      <p:sp>
        <p:nvSpPr>
          <p:cNvPr id="52" name="Free-form: Shape 51">
            <a:extLst>
              <a:ext uri="{FF2B5EF4-FFF2-40B4-BE49-F238E27FC236}">
                <a16:creationId xmlns:a16="http://schemas.microsoft.com/office/drawing/2014/main" id="{E6AA8BCE-511F-1556-14D4-2884B2E45DD0}"/>
              </a:ext>
            </a:extLst>
          </p:cNvPr>
          <p:cNvSpPr/>
          <p:nvPr userDrawn="1"/>
        </p:nvSpPr>
        <p:spPr>
          <a:xfrm>
            <a:off x="5418083" y="4372"/>
            <a:ext cx="3039296" cy="3659583"/>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2263">
              <a:solidFill>
                <a:schemeClr val="accent6"/>
              </a:solidFill>
            </a:endParaRPr>
          </a:p>
        </p:txBody>
      </p:sp>
      <p:sp>
        <p:nvSpPr>
          <p:cNvPr id="53" name="Free-form: Shape 52">
            <a:extLst>
              <a:ext uri="{FF2B5EF4-FFF2-40B4-BE49-F238E27FC236}">
                <a16:creationId xmlns:a16="http://schemas.microsoft.com/office/drawing/2014/main" id="{6B539416-25CC-C2D3-72E7-4C65BD51B5A1}"/>
              </a:ext>
            </a:extLst>
          </p:cNvPr>
          <p:cNvSpPr/>
          <p:nvPr userDrawn="1"/>
        </p:nvSpPr>
        <p:spPr>
          <a:xfrm>
            <a:off x="6017270" y="2466725"/>
            <a:ext cx="1201788" cy="1197229"/>
          </a:xfrm>
          <a:custGeom>
            <a:avLst/>
            <a:gdLst>
              <a:gd name="connsiteX0" fmla="*/ 510921 w 1027810"/>
              <a:gd name="connsiteY0" fmla="*/ 1086104 h 1086104"/>
              <a:gd name="connsiteX1" fmla="*/ 1027811 w 1027810"/>
              <a:gd name="connsiteY1" fmla="*/ 0 h 1086104"/>
              <a:gd name="connsiteX2" fmla="*/ 0 w 1027810"/>
              <a:gd name="connsiteY2" fmla="*/ 0 h 1086104"/>
              <a:gd name="connsiteX3" fmla="*/ 510921 w 1027810"/>
              <a:gd name="connsiteY3" fmla="*/ 1086104 h 1086104"/>
            </a:gdLst>
            <a:ahLst/>
            <a:cxnLst>
              <a:cxn ang="0">
                <a:pos x="connsiteX0" y="connsiteY0"/>
              </a:cxn>
              <a:cxn ang="0">
                <a:pos x="connsiteX1" y="connsiteY1"/>
              </a:cxn>
              <a:cxn ang="0">
                <a:pos x="connsiteX2" y="connsiteY2"/>
              </a:cxn>
              <a:cxn ang="0">
                <a:pos x="connsiteX3" y="connsiteY3"/>
              </a:cxn>
            </a:cxnLst>
            <a:rect l="l" t="t" r="r" b="b"/>
            <a:pathLst>
              <a:path w="1027810" h="1086104">
                <a:moveTo>
                  <a:pt x="510921" y="1086104"/>
                </a:moveTo>
                <a:lnTo>
                  <a:pt x="1027811" y="0"/>
                </a:lnTo>
                <a:lnTo>
                  <a:pt x="0" y="0"/>
                </a:lnTo>
                <a:cubicBezTo>
                  <a:pt x="0" y="0"/>
                  <a:pt x="510921" y="1086104"/>
                  <a:pt x="510921" y="1086104"/>
                </a:cubicBezTo>
                <a:close/>
              </a:path>
            </a:pathLst>
          </a:custGeom>
          <a:solidFill>
            <a:srgbClr val="FFFFFF">
              <a:alpha val="30000"/>
            </a:srgbClr>
          </a:solidFill>
          <a:ln w="6350" cap="flat">
            <a:noFill/>
            <a:prstDash val="solid"/>
            <a:miter/>
          </a:ln>
        </p:spPr>
        <p:txBody>
          <a:bodyPr rtlCol="0" anchor="ctr"/>
          <a:lstStyle/>
          <a:p>
            <a:pPr lvl="0"/>
            <a:endParaRPr lang="en-AU" sz="2263">
              <a:solidFill>
                <a:schemeClr val="accent6"/>
              </a:solidFill>
            </a:endParaRPr>
          </a:p>
        </p:txBody>
      </p:sp>
      <p:sp>
        <p:nvSpPr>
          <p:cNvPr id="54" name="Free-form: Shape 53">
            <a:extLst>
              <a:ext uri="{FF2B5EF4-FFF2-40B4-BE49-F238E27FC236}">
                <a16:creationId xmlns:a16="http://schemas.microsoft.com/office/drawing/2014/main" id="{AE37A05A-1CA9-47EB-3D17-768B91E48B21}"/>
              </a:ext>
            </a:extLst>
          </p:cNvPr>
          <p:cNvSpPr/>
          <p:nvPr userDrawn="1"/>
        </p:nvSpPr>
        <p:spPr>
          <a:xfrm>
            <a:off x="4820678" y="2466725"/>
            <a:ext cx="1793997" cy="1197229"/>
          </a:xfrm>
          <a:custGeom>
            <a:avLst/>
            <a:gdLst>
              <a:gd name="connsiteX0" fmla="*/ 1534287 w 1534287"/>
              <a:gd name="connsiteY0" fmla="*/ 1086104 h 1086104"/>
              <a:gd name="connsiteX1" fmla="*/ 1023366 w 1534287"/>
              <a:gd name="connsiteY1" fmla="*/ 0 h 1086104"/>
              <a:gd name="connsiteX2" fmla="*/ 0 w 1534287"/>
              <a:gd name="connsiteY2" fmla="*/ 0 h 1086104"/>
              <a:gd name="connsiteX3" fmla="*/ 510921 w 1534287"/>
              <a:gd name="connsiteY3" fmla="*/ 1086104 h 1086104"/>
              <a:gd name="connsiteX4" fmla="*/ 1534287 w 1534287"/>
              <a:gd name="connsiteY4" fmla="*/ 1086104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1534287" y="1086104"/>
                </a:moveTo>
                <a:lnTo>
                  <a:pt x="1023366" y="0"/>
                </a:lnTo>
                <a:lnTo>
                  <a:pt x="0" y="0"/>
                </a:lnTo>
                <a:cubicBezTo>
                  <a:pt x="0" y="0"/>
                  <a:pt x="510921" y="1086104"/>
                  <a:pt x="510921" y="1086104"/>
                </a:cubicBezTo>
                <a:lnTo>
                  <a:pt x="1534287" y="1086104"/>
                </a:lnTo>
                <a:close/>
              </a:path>
            </a:pathLst>
          </a:custGeom>
          <a:solidFill>
            <a:srgbClr val="FFFFFF">
              <a:alpha val="50000"/>
            </a:srgbClr>
          </a:solidFill>
          <a:ln w="6350" cap="flat">
            <a:noFill/>
            <a:prstDash val="solid"/>
            <a:miter/>
          </a:ln>
        </p:spPr>
        <p:txBody>
          <a:bodyPr rtlCol="0" anchor="ctr"/>
          <a:lstStyle/>
          <a:p>
            <a:pPr lvl="0"/>
            <a:endParaRPr lang="en-AU" sz="2263">
              <a:solidFill>
                <a:schemeClr val="accent6"/>
              </a:solidFill>
            </a:endParaRPr>
          </a:p>
        </p:txBody>
      </p:sp>
      <p:sp>
        <p:nvSpPr>
          <p:cNvPr id="57" name="Free-form: Shape 56">
            <a:extLst>
              <a:ext uri="{FF2B5EF4-FFF2-40B4-BE49-F238E27FC236}">
                <a16:creationId xmlns:a16="http://schemas.microsoft.com/office/drawing/2014/main" id="{6A384F39-0A4B-B0FD-E107-CEA489180716}"/>
              </a:ext>
            </a:extLst>
          </p:cNvPr>
          <p:cNvSpPr/>
          <p:nvPr userDrawn="1"/>
        </p:nvSpPr>
        <p:spPr>
          <a:xfrm>
            <a:off x="7467941" y="5342481"/>
            <a:ext cx="2285375" cy="1523273"/>
          </a:xfrm>
          <a:custGeom>
            <a:avLst/>
            <a:gdLst>
              <a:gd name="connsiteX0" fmla="*/ 0 w 1954530"/>
              <a:gd name="connsiteY0" fmla="*/ 0 h 1381886"/>
              <a:gd name="connsiteX1" fmla="*/ 649478 w 1954530"/>
              <a:gd name="connsiteY1" fmla="*/ 1381887 h 1381886"/>
              <a:gd name="connsiteX2" fmla="*/ 1954530 w 1954530"/>
              <a:gd name="connsiteY2" fmla="*/ 1381887 h 1381886"/>
              <a:gd name="connsiteX3" fmla="*/ 1305052 w 1954530"/>
              <a:gd name="connsiteY3" fmla="*/ 0 h 1381886"/>
              <a:gd name="connsiteX4" fmla="*/ 0 w 1954530"/>
              <a:gd name="connsiteY4" fmla="*/ 0 h 1381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530" h="1381886">
                <a:moveTo>
                  <a:pt x="0" y="0"/>
                </a:moveTo>
                <a:lnTo>
                  <a:pt x="649478" y="1381887"/>
                </a:lnTo>
                <a:lnTo>
                  <a:pt x="1954530" y="1381887"/>
                </a:lnTo>
                <a:cubicBezTo>
                  <a:pt x="1954530" y="1381887"/>
                  <a:pt x="1305052" y="0"/>
                  <a:pt x="1305052" y="0"/>
                </a:cubicBezTo>
                <a:lnTo>
                  <a:pt x="0" y="0"/>
                </a:lnTo>
                <a:close/>
              </a:path>
            </a:pathLst>
          </a:custGeom>
          <a:solidFill>
            <a:srgbClr val="FFFFFF">
              <a:alpha val="50000"/>
            </a:srgbClr>
          </a:solidFill>
          <a:ln w="6350" cap="flat">
            <a:noFill/>
            <a:prstDash val="solid"/>
            <a:miter/>
          </a:ln>
        </p:spPr>
        <p:txBody>
          <a:bodyPr rtlCol="0" anchor="ctr"/>
          <a:lstStyle/>
          <a:p>
            <a:pPr lvl="0"/>
            <a:endParaRPr lang="en-AU" sz="2263">
              <a:solidFill>
                <a:schemeClr val="accent6"/>
              </a:solidFill>
            </a:endParaRPr>
          </a:p>
        </p:txBody>
      </p:sp>
      <p:sp>
        <p:nvSpPr>
          <p:cNvPr id="66" name="Free-form: Shape 65">
            <a:extLst>
              <a:ext uri="{FF2B5EF4-FFF2-40B4-BE49-F238E27FC236}">
                <a16:creationId xmlns:a16="http://schemas.microsoft.com/office/drawing/2014/main" id="{3A422AEC-8593-2ABB-3C00-C4F91727399C}"/>
              </a:ext>
            </a:extLst>
          </p:cNvPr>
          <p:cNvSpPr/>
          <p:nvPr userDrawn="1"/>
        </p:nvSpPr>
        <p:spPr>
          <a:xfrm>
            <a:off x="6483849" y="5338110"/>
            <a:ext cx="2510052" cy="1954176"/>
          </a:xfrm>
          <a:custGeom>
            <a:avLst/>
            <a:gdLst>
              <a:gd name="connsiteX0" fmla="*/ 841629 w 2146681"/>
              <a:gd name="connsiteY0" fmla="*/ 0 h 1772793"/>
              <a:gd name="connsiteX1" fmla="*/ 185674 w 2146681"/>
              <a:gd name="connsiteY1" fmla="*/ 1381887 h 1772793"/>
              <a:gd name="connsiteX2" fmla="*/ 185674 w 2146681"/>
              <a:gd name="connsiteY2" fmla="*/ 1381887 h 1772793"/>
              <a:gd name="connsiteX3" fmla="*/ 0 w 2146681"/>
              <a:gd name="connsiteY3" fmla="*/ 1772793 h 1772793"/>
              <a:gd name="connsiteX4" fmla="*/ 1305814 w 2146681"/>
              <a:gd name="connsiteY4" fmla="*/ 1772793 h 1772793"/>
              <a:gd name="connsiteX5" fmla="*/ 1491107 w 2146681"/>
              <a:gd name="connsiteY5" fmla="*/ 1381887 h 1772793"/>
              <a:gd name="connsiteX6" fmla="*/ 2146681 w 2146681"/>
              <a:gd name="connsiteY6" fmla="*/ 0 h 1772793"/>
              <a:gd name="connsiteX7" fmla="*/ 841629 w 2146681"/>
              <a:gd name="connsiteY7" fmla="*/ 0 h 177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6681" h="1772793">
                <a:moveTo>
                  <a:pt x="841629" y="0"/>
                </a:moveTo>
                <a:lnTo>
                  <a:pt x="185674" y="1381887"/>
                </a:lnTo>
                <a:lnTo>
                  <a:pt x="185674" y="1381887"/>
                </a:lnTo>
                <a:lnTo>
                  <a:pt x="0" y="1772793"/>
                </a:lnTo>
                <a:lnTo>
                  <a:pt x="1305814" y="1772793"/>
                </a:lnTo>
                <a:lnTo>
                  <a:pt x="1491107" y="1381887"/>
                </a:lnTo>
                <a:lnTo>
                  <a:pt x="2146681" y="0"/>
                </a:lnTo>
                <a:lnTo>
                  <a:pt x="841629" y="0"/>
                </a:lnTo>
                <a:close/>
              </a:path>
            </a:pathLst>
          </a:custGeom>
          <a:solidFill>
            <a:srgbClr val="00B2A9"/>
          </a:solidFill>
          <a:ln w="12695" cap="flat">
            <a:noFill/>
            <a:prstDash val="solid"/>
            <a:miter/>
          </a:ln>
        </p:spPr>
        <p:txBody>
          <a:bodyPr rtlCol="0" anchor="ctr"/>
          <a:lstStyle/>
          <a:p>
            <a:endParaRPr lang="en-AU" sz="2263">
              <a:solidFill>
                <a:schemeClr val="accent6"/>
              </a:solidFill>
            </a:endParaRPr>
          </a:p>
        </p:txBody>
      </p:sp>
      <p:sp>
        <p:nvSpPr>
          <p:cNvPr id="67" name="Free-form: Shape 66">
            <a:extLst>
              <a:ext uri="{FF2B5EF4-FFF2-40B4-BE49-F238E27FC236}">
                <a16:creationId xmlns:a16="http://schemas.microsoft.com/office/drawing/2014/main" id="{AC33B5E6-8F3D-5E3E-7D9A-EAFBCDBAC63A}"/>
              </a:ext>
            </a:extLst>
          </p:cNvPr>
          <p:cNvSpPr/>
          <p:nvPr userDrawn="1"/>
        </p:nvSpPr>
        <p:spPr>
          <a:xfrm>
            <a:off x="6700954" y="5338110"/>
            <a:ext cx="1526405" cy="1523273"/>
          </a:xfrm>
          <a:custGeom>
            <a:avLst/>
            <a:gdLst>
              <a:gd name="connsiteX0" fmla="*/ 655955 w 1305433"/>
              <a:gd name="connsiteY0" fmla="*/ 0 h 1381886"/>
              <a:gd name="connsiteX1" fmla="*/ 0 w 1305433"/>
              <a:gd name="connsiteY1" fmla="*/ 1381887 h 1381886"/>
              <a:gd name="connsiteX2" fmla="*/ 1305433 w 1305433"/>
              <a:gd name="connsiteY2" fmla="*/ 1381887 h 1381886"/>
              <a:gd name="connsiteX3" fmla="*/ 655955 w 1305433"/>
              <a:gd name="connsiteY3" fmla="*/ 0 h 1381886"/>
            </a:gdLst>
            <a:ahLst/>
            <a:cxnLst>
              <a:cxn ang="0">
                <a:pos x="connsiteX0" y="connsiteY0"/>
              </a:cxn>
              <a:cxn ang="0">
                <a:pos x="connsiteX1" y="connsiteY1"/>
              </a:cxn>
              <a:cxn ang="0">
                <a:pos x="connsiteX2" y="connsiteY2"/>
              </a:cxn>
              <a:cxn ang="0">
                <a:pos x="connsiteX3" y="connsiteY3"/>
              </a:cxn>
            </a:cxnLst>
            <a:rect l="l" t="t" r="r" b="b"/>
            <a:pathLst>
              <a:path w="1305433" h="1381886">
                <a:moveTo>
                  <a:pt x="655955" y="0"/>
                </a:moveTo>
                <a:lnTo>
                  <a:pt x="0" y="1381887"/>
                </a:lnTo>
                <a:lnTo>
                  <a:pt x="1305433" y="1381887"/>
                </a:lnTo>
                <a:lnTo>
                  <a:pt x="655955" y="0"/>
                </a:lnTo>
                <a:close/>
              </a:path>
            </a:pathLst>
          </a:custGeom>
          <a:solidFill>
            <a:srgbClr val="FFFFFF">
              <a:alpha val="30000"/>
            </a:srgbClr>
          </a:solidFill>
          <a:ln w="6350" cap="flat">
            <a:noFill/>
            <a:prstDash val="solid"/>
            <a:miter/>
          </a:ln>
        </p:spPr>
        <p:txBody>
          <a:bodyPr rtlCol="0" anchor="ctr"/>
          <a:lstStyle/>
          <a:p>
            <a:pPr lvl="0"/>
            <a:endParaRPr lang="en-AU" sz="2263">
              <a:solidFill>
                <a:schemeClr val="accent6"/>
              </a:solidFill>
            </a:endParaRPr>
          </a:p>
        </p:txBody>
      </p:sp>
      <p:sp>
        <p:nvSpPr>
          <p:cNvPr id="69" name="Free-form: Shape 68">
            <a:extLst>
              <a:ext uri="{FF2B5EF4-FFF2-40B4-BE49-F238E27FC236}">
                <a16:creationId xmlns:a16="http://schemas.microsoft.com/office/drawing/2014/main" id="{54C5F44E-C5F1-3D65-009F-DB234152592E}"/>
              </a:ext>
            </a:extLst>
          </p:cNvPr>
          <p:cNvSpPr/>
          <p:nvPr userDrawn="1"/>
        </p:nvSpPr>
        <p:spPr>
          <a:xfrm>
            <a:off x="6350202" y="6861384"/>
            <a:ext cx="1877156" cy="698290"/>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2263">
              <a:solidFill>
                <a:schemeClr val="accent6"/>
              </a:solidFill>
            </a:endParaRPr>
          </a:p>
        </p:txBody>
      </p:sp>
      <p:cxnSp>
        <p:nvCxnSpPr>
          <p:cNvPr id="70" name="Straight Connector 69">
            <a:extLst>
              <a:ext uri="{FF2B5EF4-FFF2-40B4-BE49-F238E27FC236}">
                <a16:creationId xmlns:a16="http://schemas.microsoft.com/office/drawing/2014/main" id="{A224B4F1-853F-0203-EE31-DF5D42CD7C16}"/>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5CB1A71F-769E-D0CB-FA51-63EAE73B574F}"/>
              </a:ext>
            </a:extLst>
          </p:cNvPr>
          <p:cNvSpPr/>
          <p:nvPr userDrawn="1"/>
        </p:nvSpPr>
        <p:spPr>
          <a:xfrm>
            <a:off x="7467943" y="5338110"/>
            <a:ext cx="2285375" cy="1523273"/>
          </a:xfrm>
          <a:custGeom>
            <a:avLst/>
            <a:gdLst>
              <a:gd name="connsiteX0" fmla="*/ 0 w 1954530"/>
              <a:gd name="connsiteY0" fmla="*/ 0 h 1381886"/>
              <a:gd name="connsiteX1" fmla="*/ 649478 w 1954530"/>
              <a:gd name="connsiteY1" fmla="*/ 1381887 h 1381886"/>
              <a:gd name="connsiteX2" fmla="*/ 1954530 w 1954530"/>
              <a:gd name="connsiteY2" fmla="*/ 1381887 h 1381886"/>
              <a:gd name="connsiteX3" fmla="*/ 1305052 w 1954530"/>
              <a:gd name="connsiteY3" fmla="*/ 0 h 1381886"/>
              <a:gd name="connsiteX4" fmla="*/ 0 w 1954530"/>
              <a:gd name="connsiteY4" fmla="*/ 0 h 1381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530" h="1381886">
                <a:moveTo>
                  <a:pt x="0" y="0"/>
                </a:moveTo>
                <a:lnTo>
                  <a:pt x="649478" y="1381887"/>
                </a:lnTo>
                <a:lnTo>
                  <a:pt x="1954530" y="1381887"/>
                </a:lnTo>
                <a:cubicBezTo>
                  <a:pt x="1954530" y="1381887"/>
                  <a:pt x="1305052" y="0"/>
                  <a:pt x="1305052" y="0"/>
                </a:cubicBezTo>
                <a:lnTo>
                  <a:pt x="0" y="0"/>
                </a:lnTo>
                <a:close/>
              </a:path>
            </a:pathLst>
          </a:custGeom>
          <a:solidFill>
            <a:srgbClr val="FFFFFF">
              <a:alpha val="50000"/>
            </a:srgbClr>
          </a:solidFill>
          <a:ln w="6350" cap="flat">
            <a:noFill/>
            <a:prstDash val="solid"/>
            <a:miter/>
          </a:ln>
        </p:spPr>
        <p:txBody>
          <a:bodyPr rtlCol="0" anchor="ctr"/>
          <a:lstStyle/>
          <a:p>
            <a:pPr lvl="0"/>
            <a:endParaRPr lang="en-AU" sz="2263">
              <a:solidFill>
                <a:schemeClr val="accent6"/>
              </a:solidFill>
            </a:endParaRPr>
          </a:p>
        </p:txBody>
      </p:sp>
    </p:spTree>
    <p:extLst>
      <p:ext uri="{BB962C8B-B14F-4D97-AF65-F5344CB8AC3E}">
        <p14:creationId xmlns:p14="http://schemas.microsoft.com/office/powerpoint/2010/main" val="24294387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image">
    <p:spTree>
      <p:nvGrpSpPr>
        <p:cNvPr id="1" name=""/>
        <p:cNvGrpSpPr/>
        <p:nvPr/>
      </p:nvGrpSpPr>
      <p:grpSpPr>
        <a:xfrm>
          <a:off x="0" y="0"/>
          <a:ext cx="0" cy="0"/>
          <a:chOff x="0" y="0"/>
          <a:chExt cx="0" cy="0"/>
        </a:xfrm>
      </p:grpSpPr>
      <p:sp>
        <p:nvSpPr>
          <p:cNvPr id="39" name="Free-form: Shape 38">
            <a:extLst>
              <a:ext uri="{FF2B5EF4-FFF2-40B4-BE49-F238E27FC236}">
                <a16:creationId xmlns:a16="http://schemas.microsoft.com/office/drawing/2014/main" id="{B3F9F954-4071-0FCB-A8F6-174F333AE253}"/>
              </a:ext>
            </a:extLst>
          </p:cNvPr>
          <p:cNvSpPr/>
          <p:nvPr/>
        </p:nvSpPr>
        <p:spPr>
          <a:xfrm>
            <a:off x="0" y="693805"/>
            <a:ext cx="10688550" cy="616337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rgbClr val="00B1A8"/>
          </a:solidFill>
          <a:ln w="6350" cap="flat">
            <a:noFill/>
            <a:prstDash val="solid"/>
            <a:miter/>
          </a:ln>
        </p:spPr>
        <p:txBody>
          <a:bodyPr rtlCol="0" anchor="ctr"/>
          <a:lstStyle/>
          <a:p>
            <a:pPr lvl="0"/>
            <a:endParaRPr lang="en-AU" sz="2263"/>
          </a:p>
        </p:txBody>
      </p:sp>
      <p:sp>
        <p:nvSpPr>
          <p:cNvPr id="60" name="Picture Placeholder 59">
            <a:extLst>
              <a:ext uri="{FF2B5EF4-FFF2-40B4-BE49-F238E27FC236}">
                <a16:creationId xmlns:a16="http://schemas.microsoft.com/office/drawing/2014/main" id="{7B6F0F54-9CE1-47BC-8BB5-F63D9769A8E7}"/>
              </a:ext>
            </a:extLst>
          </p:cNvPr>
          <p:cNvSpPr>
            <a:spLocks noGrp="1" noChangeAspect="1"/>
          </p:cNvSpPr>
          <p:nvPr>
            <p:ph type="pic" sz="quarter" idx="20" hasCustomPrompt="1"/>
          </p:nvPr>
        </p:nvSpPr>
        <p:spPr>
          <a:xfrm>
            <a:off x="3941422" y="693805"/>
            <a:ext cx="6746979" cy="6164075"/>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1">
              <a:lumMod val="75000"/>
            </a:schemeClr>
          </a:solidFill>
        </p:spPr>
        <p:txBody>
          <a:bodyPr wrap="square" lIns="3600000" tIns="288000" rIns="360000" bIns="360000" anchor="t" anchorCtr="0">
            <a:noAutofit/>
          </a:bodyPr>
          <a:lstStyle>
            <a:lvl1pPr algn="r">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10" name="Subtitle 2">
            <a:extLst>
              <a:ext uri="{FF2B5EF4-FFF2-40B4-BE49-F238E27FC236}">
                <a16:creationId xmlns:a16="http://schemas.microsoft.com/office/drawing/2014/main" id="{D39926BE-0D9D-4400-A90E-88C8BB726BE5}"/>
              </a:ext>
            </a:extLst>
          </p:cNvPr>
          <p:cNvSpPr>
            <a:spLocks noGrp="1"/>
          </p:cNvSpPr>
          <p:nvPr>
            <p:ph type="subTitle" idx="1" hasCustomPrompt="1"/>
          </p:nvPr>
        </p:nvSpPr>
        <p:spPr>
          <a:xfrm>
            <a:off x="564738" y="2675708"/>
            <a:ext cx="4419844" cy="1587333"/>
          </a:xfrm>
        </p:spPr>
        <p:txBody>
          <a:bodyPr/>
          <a:lstStyle>
            <a:lvl1pPr marL="0" indent="0" algn="l">
              <a:buNone/>
              <a:defRPr sz="2535" b="0">
                <a:solidFill>
                  <a:schemeClr val="bg1"/>
                </a:solidFill>
              </a:defRPr>
            </a:lvl1pPr>
            <a:lvl2pPr marL="0" indent="0" algn="l">
              <a:buNone/>
              <a:defRPr sz="2535" b="0">
                <a:solidFill>
                  <a:schemeClr val="accent3"/>
                </a:solidFill>
              </a:defRPr>
            </a:lvl2pPr>
            <a:lvl3pPr marL="0" indent="0" algn="l">
              <a:buNone/>
              <a:defRPr sz="2535" b="0">
                <a:solidFill>
                  <a:schemeClr val="bg1"/>
                </a:solidFill>
              </a:defRPr>
            </a:lvl3pPr>
            <a:lvl4pPr marL="0" indent="0" algn="l">
              <a:buNone/>
              <a:defRPr sz="2535" b="0">
                <a:solidFill>
                  <a:schemeClr val="bg1"/>
                </a:solidFill>
              </a:defRPr>
            </a:lvl4pPr>
            <a:lvl5pPr marL="0" indent="0" algn="l">
              <a:buNone/>
              <a:defRPr sz="2535" b="0">
                <a:solidFill>
                  <a:schemeClr val="bg1"/>
                </a:solidFill>
              </a:defRPr>
            </a:lvl5pPr>
            <a:lvl6pPr marL="0" indent="0" algn="l">
              <a:buNone/>
              <a:defRPr sz="2535" b="0">
                <a:solidFill>
                  <a:schemeClr val="bg1"/>
                </a:solidFill>
              </a:defRPr>
            </a:lvl6pPr>
            <a:lvl7pPr marL="0" indent="0" algn="l">
              <a:buNone/>
              <a:defRPr sz="2535" b="0">
                <a:solidFill>
                  <a:schemeClr val="bg1"/>
                </a:solidFill>
              </a:defRPr>
            </a:lvl7pPr>
            <a:lvl8pPr marL="0" indent="0" algn="l">
              <a:buNone/>
              <a:defRPr sz="2535" b="0">
                <a:solidFill>
                  <a:schemeClr val="bg1"/>
                </a:solidFill>
              </a:defRPr>
            </a:lvl8pPr>
            <a:lvl9pPr marL="0" indent="0" algn="l">
              <a:buNone/>
              <a:defRPr sz="2535" b="0">
                <a:solidFill>
                  <a:schemeClr val="bg1"/>
                </a:solidFill>
              </a:defRPr>
            </a:lvl9pPr>
          </a:lstStyle>
          <a:p>
            <a:r>
              <a:rPr lang="en-US" dirty="0"/>
              <a:t>Click to add subheading</a:t>
            </a:r>
            <a:endParaRPr lang="en-GB" dirty="0"/>
          </a:p>
        </p:txBody>
      </p:sp>
      <p:sp>
        <p:nvSpPr>
          <p:cNvPr id="11" name="Title 10">
            <a:extLst>
              <a:ext uri="{FF2B5EF4-FFF2-40B4-BE49-F238E27FC236}">
                <a16:creationId xmlns:a16="http://schemas.microsoft.com/office/drawing/2014/main" id="{36FDE619-A8FC-4AAE-B02B-476D7475B937}"/>
              </a:ext>
            </a:extLst>
          </p:cNvPr>
          <p:cNvSpPr>
            <a:spLocks noGrp="1"/>
          </p:cNvSpPr>
          <p:nvPr>
            <p:ph type="title" hasCustomPrompt="1"/>
          </p:nvPr>
        </p:nvSpPr>
        <p:spPr>
          <a:xfrm>
            <a:off x="568001" y="1391815"/>
            <a:ext cx="4419844" cy="1190500"/>
          </a:xfrm>
        </p:spPr>
        <p:txBody>
          <a:bodyPr anchor="b" anchorCtr="0"/>
          <a:lstStyle>
            <a:lvl1pPr>
              <a:defRPr sz="3417">
                <a:solidFill>
                  <a:schemeClr val="bg1"/>
                </a:solidFill>
              </a:defRPr>
            </a:lvl1pPr>
          </a:lstStyle>
          <a:p>
            <a:r>
              <a:rPr lang="en-US" dirty="0"/>
              <a:t>Section Header</a:t>
            </a:r>
            <a:endParaRPr lang="en-GB" dirty="0"/>
          </a:p>
        </p:txBody>
      </p:sp>
      <p:sp>
        <p:nvSpPr>
          <p:cNvPr id="61" name="Text Placeholder 60">
            <a:extLst>
              <a:ext uri="{FF2B5EF4-FFF2-40B4-BE49-F238E27FC236}">
                <a16:creationId xmlns:a16="http://schemas.microsoft.com/office/drawing/2014/main" id="{2DD25AD8-4B3B-5469-2A0A-638B0947814E}"/>
              </a:ext>
            </a:extLst>
          </p:cNvPr>
          <p:cNvSpPr>
            <a:spLocks noGrp="1"/>
          </p:cNvSpPr>
          <p:nvPr>
            <p:ph type="body" sz="quarter" idx="15"/>
          </p:nvPr>
        </p:nvSpPr>
        <p:spPr>
          <a:xfrm>
            <a:off x="7033286" y="693804"/>
            <a:ext cx="1035472" cy="1032316"/>
          </a:xfrm>
          <a:custGeom>
            <a:avLst/>
            <a:gdLst>
              <a:gd name="connsiteX0" fmla="*/ 442786 w 885571"/>
              <a:gd name="connsiteY0" fmla="*/ 936364 h 936498"/>
              <a:gd name="connsiteX1" fmla="*/ 442849 w 885571"/>
              <a:gd name="connsiteY1" fmla="*/ 936498 h 936498"/>
              <a:gd name="connsiteX2" fmla="*/ 442722 w 885571"/>
              <a:gd name="connsiteY2" fmla="*/ 936498 h 936498"/>
              <a:gd name="connsiteX3" fmla="*/ 0 w 885571"/>
              <a:gd name="connsiteY3" fmla="*/ 0 h 936498"/>
              <a:gd name="connsiteX4" fmla="*/ 885571 w 885571"/>
              <a:gd name="connsiteY4" fmla="*/ 0 h 936498"/>
              <a:gd name="connsiteX5" fmla="*/ 442786 w 885571"/>
              <a:gd name="connsiteY5" fmla="*/ 936364 h 936498"/>
              <a:gd name="connsiteX6" fmla="*/ 437876 w 885571"/>
              <a:gd name="connsiteY6" fmla="*/ 925981 h 936498"/>
              <a:gd name="connsiteX7" fmla="*/ 0 w 885571"/>
              <a:gd name="connsiteY7" fmla="*/ 0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571" h="936498">
                <a:moveTo>
                  <a:pt x="442786" y="936364"/>
                </a:moveTo>
                <a:lnTo>
                  <a:pt x="442849" y="936498"/>
                </a:lnTo>
                <a:lnTo>
                  <a:pt x="442722" y="936498"/>
                </a:lnTo>
                <a:close/>
                <a:moveTo>
                  <a:pt x="0" y="0"/>
                </a:moveTo>
                <a:lnTo>
                  <a:pt x="885571" y="0"/>
                </a:lnTo>
                <a:lnTo>
                  <a:pt x="442786" y="936364"/>
                </a:lnTo>
                <a:lnTo>
                  <a:pt x="437876" y="925981"/>
                </a:lnTo>
                <a:cubicBezTo>
                  <a:pt x="389223" y="823094"/>
                  <a:pt x="0" y="0"/>
                  <a:pt x="0" y="0"/>
                </a:cubicBezTo>
                <a:close/>
              </a:path>
            </a:pathLst>
          </a:custGeom>
          <a:solidFill>
            <a:schemeClr val="accent1">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62" name="Text Placeholder 61">
            <a:extLst>
              <a:ext uri="{FF2B5EF4-FFF2-40B4-BE49-F238E27FC236}">
                <a16:creationId xmlns:a16="http://schemas.microsoft.com/office/drawing/2014/main" id="{D4E0CD83-95C3-6463-68B5-540D5EFFF7BA}"/>
              </a:ext>
            </a:extLst>
          </p:cNvPr>
          <p:cNvSpPr>
            <a:spLocks noGrp="1"/>
          </p:cNvSpPr>
          <p:nvPr>
            <p:ph type="body" sz="quarter" idx="17"/>
          </p:nvPr>
        </p:nvSpPr>
        <p:spPr>
          <a:xfrm>
            <a:off x="6515327" y="693803"/>
            <a:ext cx="1035472" cy="1032316"/>
          </a:xfrm>
          <a:custGeom>
            <a:avLst/>
            <a:gdLst>
              <a:gd name="connsiteX0" fmla="*/ 442786 w 885571"/>
              <a:gd name="connsiteY0" fmla="*/ 134 h 936498"/>
              <a:gd name="connsiteX1" fmla="*/ 447696 w 885571"/>
              <a:gd name="connsiteY1" fmla="*/ 10517 h 936498"/>
              <a:gd name="connsiteX2" fmla="*/ 885571 w 885571"/>
              <a:gd name="connsiteY2" fmla="*/ 936498 h 936498"/>
              <a:gd name="connsiteX3" fmla="*/ 0 w 885571"/>
              <a:gd name="connsiteY3" fmla="*/ 936498 h 936498"/>
              <a:gd name="connsiteX4" fmla="*/ 442722 w 885571"/>
              <a:gd name="connsiteY4" fmla="*/ 0 h 936498"/>
              <a:gd name="connsiteX5" fmla="*/ 442849 w 885571"/>
              <a:gd name="connsiteY5" fmla="*/ 0 h 936498"/>
              <a:gd name="connsiteX6" fmla="*/ 442786 w 885571"/>
              <a:gd name="connsiteY6" fmla="*/ 134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571" h="936498">
                <a:moveTo>
                  <a:pt x="442786" y="134"/>
                </a:moveTo>
                <a:lnTo>
                  <a:pt x="447696" y="10517"/>
                </a:lnTo>
                <a:cubicBezTo>
                  <a:pt x="496349" y="113404"/>
                  <a:pt x="885571" y="936498"/>
                  <a:pt x="885571" y="936498"/>
                </a:cubicBezTo>
                <a:lnTo>
                  <a:pt x="0" y="936498"/>
                </a:lnTo>
                <a:close/>
                <a:moveTo>
                  <a:pt x="442722" y="0"/>
                </a:moveTo>
                <a:lnTo>
                  <a:pt x="442849" y="0"/>
                </a:lnTo>
                <a:lnTo>
                  <a:pt x="442786" y="134"/>
                </a:lnTo>
                <a:close/>
              </a:path>
            </a:pathLst>
          </a:custGeom>
          <a:solidFill>
            <a:schemeClr val="accent1">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52" name="Free-form: Shape 51">
            <a:extLst>
              <a:ext uri="{FF2B5EF4-FFF2-40B4-BE49-F238E27FC236}">
                <a16:creationId xmlns:a16="http://schemas.microsoft.com/office/drawing/2014/main" id="{E1058DF6-0B4D-4561-F410-CF4A6EC5587F}"/>
              </a:ext>
            </a:extLst>
          </p:cNvPr>
          <p:cNvSpPr/>
          <p:nvPr/>
        </p:nvSpPr>
        <p:spPr>
          <a:xfrm>
            <a:off x="7547384" y="6857740"/>
            <a:ext cx="1545412" cy="697870"/>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rgbClr val="53565A"/>
          </a:solidFill>
          <a:ln w="6350" cap="flat">
            <a:noFill/>
            <a:prstDash val="solid"/>
            <a:miter/>
          </a:ln>
        </p:spPr>
        <p:txBody>
          <a:bodyPr rtlCol="0" anchor="ctr"/>
          <a:lstStyle/>
          <a:p>
            <a:pPr lvl="0"/>
            <a:endParaRPr lang="en-AU" sz="2263"/>
          </a:p>
        </p:txBody>
      </p:sp>
      <p:sp>
        <p:nvSpPr>
          <p:cNvPr id="46" name="Free-form: Shape 45">
            <a:extLst>
              <a:ext uri="{FF2B5EF4-FFF2-40B4-BE49-F238E27FC236}">
                <a16:creationId xmlns:a16="http://schemas.microsoft.com/office/drawing/2014/main" id="{83821572-8A3F-6B76-EC63-FFFF39B4D8E2}"/>
              </a:ext>
            </a:extLst>
          </p:cNvPr>
          <p:cNvSpPr/>
          <p:nvPr/>
        </p:nvSpPr>
        <p:spPr>
          <a:xfrm>
            <a:off x="7033137" y="-4064"/>
            <a:ext cx="1384738" cy="697869"/>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2263"/>
          </a:p>
        </p:txBody>
      </p:sp>
      <p:sp>
        <p:nvSpPr>
          <p:cNvPr id="48" name="Free-form: Shape 47">
            <a:extLst>
              <a:ext uri="{FF2B5EF4-FFF2-40B4-BE49-F238E27FC236}">
                <a16:creationId xmlns:a16="http://schemas.microsoft.com/office/drawing/2014/main" id="{7147DF2A-84C9-29DC-6E61-6969EC837D59}"/>
              </a:ext>
            </a:extLst>
          </p:cNvPr>
          <p:cNvSpPr/>
          <p:nvPr/>
        </p:nvSpPr>
        <p:spPr>
          <a:xfrm>
            <a:off x="7550800" y="693805"/>
            <a:ext cx="517810" cy="1032315"/>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2263"/>
          </a:p>
        </p:txBody>
      </p:sp>
      <p:sp>
        <p:nvSpPr>
          <p:cNvPr id="55" name="Free-form: Shape 54">
            <a:extLst>
              <a:ext uri="{FF2B5EF4-FFF2-40B4-BE49-F238E27FC236}">
                <a16:creationId xmlns:a16="http://schemas.microsoft.com/office/drawing/2014/main" id="{BD8D172D-4A33-0DD4-E56D-113639EAFAE9}"/>
              </a:ext>
            </a:extLst>
          </p:cNvPr>
          <p:cNvSpPr/>
          <p:nvPr/>
        </p:nvSpPr>
        <p:spPr>
          <a:xfrm>
            <a:off x="375554" y="6857741"/>
            <a:ext cx="10319530" cy="698010"/>
          </a:xfrm>
          <a:custGeom>
            <a:avLst/>
            <a:gdLst>
              <a:gd name="connsiteX0" fmla="*/ 0 w 8825611"/>
              <a:gd name="connsiteY0" fmla="*/ 0 h 633222"/>
              <a:gd name="connsiteX1" fmla="*/ 8825611 w 8825611"/>
              <a:gd name="connsiteY1" fmla="*/ 0 h 633222"/>
              <a:gd name="connsiteX2" fmla="*/ 8825611 w 8825611"/>
              <a:gd name="connsiteY2" fmla="*/ 633222 h 633222"/>
              <a:gd name="connsiteX3" fmla="*/ 0 w 8825611"/>
              <a:gd name="connsiteY3" fmla="*/ 633222 h 633222"/>
            </a:gdLst>
            <a:ahLst/>
            <a:cxnLst>
              <a:cxn ang="0">
                <a:pos x="connsiteX0" y="connsiteY0"/>
              </a:cxn>
              <a:cxn ang="0">
                <a:pos x="connsiteX1" y="connsiteY1"/>
              </a:cxn>
              <a:cxn ang="0">
                <a:pos x="connsiteX2" y="connsiteY2"/>
              </a:cxn>
              <a:cxn ang="0">
                <a:pos x="connsiteX3" y="connsiteY3"/>
              </a:cxn>
            </a:cxnLst>
            <a:rect l="l" t="t" r="r" b="b"/>
            <a:pathLst>
              <a:path w="8825611" h="633222">
                <a:moveTo>
                  <a:pt x="0" y="0"/>
                </a:moveTo>
                <a:lnTo>
                  <a:pt x="8825611" y="0"/>
                </a:lnTo>
                <a:lnTo>
                  <a:pt x="8825611" y="633222"/>
                </a:lnTo>
                <a:lnTo>
                  <a:pt x="0" y="633222"/>
                </a:lnTo>
                <a:close/>
              </a:path>
            </a:pathLst>
          </a:custGeom>
          <a:noFill/>
          <a:ln w="12691" cap="flat">
            <a:noFill/>
            <a:prstDash val="solid"/>
            <a:miter/>
          </a:ln>
        </p:spPr>
        <p:txBody>
          <a:bodyPr rtlCol="0" anchor="ctr"/>
          <a:lstStyle/>
          <a:p>
            <a:endParaRPr lang="en-AU" sz="2263"/>
          </a:p>
        </p:txBody>
      </p:sp>
      <p:sp>
        <p:nvSpPr>
          <p:cNvPr id="56" name="Free-form: Shape 55">
            <a:extLst>
              <a:ext uri="{FF2B5EF4-FFF2-40B4-BE49-F238E27FC236}">
                <a16:creationId xmlns:a16="http://schemas.microsoft.com/office/drawing/2014/main" id="{4E22A3CD-7A86-3297-24D4-607873FB419F}"/>
              </a:ext>
            </a:extLst>
          </p:cNvPr>
          <p:cNvSpPr/>
          <p:nvPr/>
        </p:nvSpPr>
        <p:spPr>
          <a:xfrm>
            <a:off x="372287" y="-4064"/>
            <a:ext cx="10319530" cy="698010"/>
          </a:xfrm>
          <a:custGeom>
            <a:avLst/>
            <a:gdLst>
              <a:gd name="connsiteX0" fmla="*/ 0 w 8825611"/>
              <a:gd name="connsiteY0" fmla="*/ 0 h 633222"/>
              <a:gd name="connsiteX1" fmla="*/ 8825611 w 8825611"/>
              <a:gd name="connsiteY1" fmla="*/ 0 h 633222"/>
              <a:gd name="connsiteX2" fmla="*/ 8825611 w 8825611"/>
              <a:gd name="connsiteY2" fmla="*/ 633222 h 633222"/>
              <a:gd name="connsiteX3" fmla="*/ 0 w 8825611"/>
              <a:gd name="connsiteY3" fmla="*/ 633222 h 633222"/>
            </a:gdLst>
            <a:ahLst/>
            <a:cxnLst>
              <a:cxn ang="0">
                <a:pos x="connsiteX0" y="connsiteY0"/>
              </a:cxn>
              <a:cxn ang="0">
                <a:pos x="connsiteX1" y="connsiteY1"/>
              </a:cxn>
              <a:cxn ang="0">
                <a:pos x="connsiteX2" y="connsiteY2"/>
              </a:cxn>
              <a:cxn ang="0">
                <a:pos x="connsiteX3" y="connsiteY3"/>
              </a:cxn>
            </a:cxnLst>
            <a:rect l="l" t="t" r="r" b="b"/>
            <a:pathLst>
              <a:path w="8825611" h="633222">
                <a:moveTo>
                  <a:pt x="0" y="0"/>
                </a:moveTo>
                <a:lnTo>
                  <a:pt x="8825611" y="0"/>
                </a:lnTo>
                <a:lnTo>
                  <a:pt x="8825611" y="633222"/>
                </a:lnTo>
                <a:lnTo>
                  <a:pt x="0" y="633222"/>
                </a:lnTo>
                <a:close/>
              </a:path>
            </a:pathLst>
          </a:custGeom>
          <a:noFill/>
          <a:ln w="12691" cap="flat">
            <a:noFill/>
            <a:prstDash val="solid"/>
            <a:miter/>
          </a:ln>
        </p:spPr>
        <p:txBody>
          <a:bodyPr rtlCol="0" anchor="ctr"/>
          <a:lstStyle/>
          <a:p>
            <a:endParaRPr lang="en-AU" sz="2263"/>
          </a:p>
        </p:txBody>
      </p:sp>
      <p:sp>
        <p:nvSpPr>
          <p:cNvPr id="63" name="Text Placeholder 62">
            <a:extLst>
              <a:ext uri="{FF2B5EF4-FFF2-40B4-BE49-F238E27FC236}">
                <a16:creationId xmlns:a16="http://schemas.microsoft.com/office/drawing/2014/main" id="{245E7C8D-18CE-D16D-EBFC-B55D24729C2C}"/>
              </a:ext>
            </a:extLst>
          </p:cNvPr>
          <p:cNvSpPr>
            <a:spLocks noGrp="1"/>
          </p:cNvSpPr>
          <p:nvPr>
            <p:ph type="body" sz="quarter" idx="18"/>
          </p:nvPr>
        </p:nvSpPr>
        <p:spPr>
          <a:xfrm>
            <a:off x="5997664" y="693803"/>
            <a:ext cx="1553283" cy="1032316"/>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65" name="Text Placeholder 64">
            <a:extLst>
              <a:ext uri="{FF2B5EF4-FFF2-40B4-BE49-F238E27FC236}">
                <a16:creationId xmlns:a16="http://schemas.microsoft.com/office/drawing/2014/main" id="{430465A8-B110-5F4A-EF48-43014E78D4DF}"/>
              </a:ext>
            </a:extLst>
          </p:cNvPr>
          <p:cNvSpPr>
            <a:spLocks noGrp="1"/>
          </p:cNvSpPr>
          <p:nvPr>
            <p:ph type="body" sz="quarter" idx="19"/>
          </p:nvPr>
        </p:nvSpPr>
        <p:spPr>
          <a:xfrm>
            <a:off x="7897835" y="5666672"/>
            <a:ext cx="1794443" cy="1193869"/>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accent6">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67" name="Text Placeholder 66">
            <a:extLst>
              <a:ext uri="{FF2B5EF4-FFF2-40B4-BE49-F238E27FC236}">
                <a16:creationId xmlns:a16="http://schemas.microsoft.com/office/drawing/2014/main" id="{6711808D-4AD1-4428-129E-131055EC5C88}"/>
              </a:ext>
            </a:extLst>
          </p:cNvPr>
          <p:cNvSpPr>
            <a:spLocks noGrp="1"/>
          </p:cNvSpPr>
          <p:nvPr>
            <p:ph type="body" sz="quarter" idx="16"/>
          </p:nvPr>
        </p:nvSpPr>
        <p:spPr>
          <a:xfrm>
            <a:off x="8498807" y="5666672"/>
            <a:ext cx="1787315" cy="1191209"/>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 name="Footer Placeholder 3">
            <a:extLst>
              <a:ext uri="{FF2B5EF4-FFF2-40B4-BE49-F238E27FC236}">
                <a16:creationId xmlns:a16="http://schemas.microsoft.com/office/drawing/2014/main" id="{AD6E9CC3-6786-46BB-D73B-768CE7C9405B}"/>
              </a:ext>
            </a:extLst>
          </p:cNvPr>
          <p:cNvSpPr>
            <a:spLocks noGrp="1"/>
          </p:cNvSpPr>
          <p:nvPr>
            <p:ph type="ftr" sz="quarter" idx="22"/>
          </p:nvPr>
        </p:nvSpPr>
        <p:spPr/>
        <p:txBody>
          <a:bodyPr/>
          <a:lstStyle/>
          <a:p>
            <a:r>
              <a:rPr lang="en-GB"/>
              <a:t>To add a Footer, select 'Insert &gt; Header &amp; Footer'</a:t>
            </a:r>
            <a:endParaRPr lang="en-GB" dirty="0"/>
          </a:p>
        </p:txBody>
      </p:sp>
      <p:sp>
        <p:nvSpPr>
          <p:cNvPr id="6" name="Slide Number Placeholder 5">
            <a:extLst>
              <a:ext uri="{FF2B5EF4-FFF2-40B4-BE49-F238E27FC236}">
                <a16:creationId xmlns:a16="http://schemas.microsoft.com/office/drawing/2014/main" id="{832AE132-488B-C489-A635-15025EFDB9E2}"/>
              </a:ext>
            </a:extLst>
          </p:cNvPr>
          <p:cNvSpPr>
            <a:spLocks noGrp="1"/>
          </p:cNvSpPr>
          <p:nvPr>
            <p:ph type="sldNum" sz="quarter" idx="4"/>
          </p:nvPr>
        </p:nvSpPr>
        <p:spPr>
          <a:xfrm>
            <a:off x="9750219" y="7004053"/>
            <a:ext cx="631406" cy="396833"/>
          </a:xfrm>
          <a:prstGeom prst="rect">
            <a:avLst/>
          </a:prstGeom>
        </p:spPr>
        <p:txBody>
          <a:bodyPr vert="horz" lIns="0" tIns="0" rIns="0" bIns="0" rtlCol="0" anchor="ctr"/>
          <a:lstStyle>
            <a:lvl1pPr algn="l">
              <a:defRPr sz="1102">
                <a:solidFill>
                  <a:schemeClr val="accent6"/>
                </a:solidFill>
              </a:defRPr>
            </a:lvl1pPr>
          </a:lstStyle>
          <a:p>
            <a:r>
              <a:rPr lang="en-GB" dirty="0"/>
              <a:t>Page </a:t>
            </a:r>
            <a:fld id="{F5AEA0E0-5CC6-4BD0-905C-A0021E419432}" type="slidenum">
              <a:rPr lang="en-GB" smtClean="0"/>
              <a:pPr/>
              <a:t>‹#›</a:t>
            </a:fld>
            <a:endParaRPr lang="en-GB" dirty="0"/>
          </a:p>
        </p:txBody>
      </p:sp>
      <p:cxnSp>
        <p:nvCxnSpPr>
          <p:cNvPr id="7" name="Straight Connector 6">
            <a:extLst>
              <a:ext uri="{FF2B5EF4-FFF2-40B4-BE49-F238E27FC236}">
                <a16:creationId xmlns:a16="http://schemas.microsoft.com/office/drawing/2014/main" id="{70FF2009-CFB8-CF28-3413-0B4284833D97}"/>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86922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image">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8179413-F21E-6F8B-5621-FD6158E128DD}"/>
              </a:ext>
            </a:extLst>
          </p:cNvPr>
          <p:cNvSpPr/>
          <p:nvPr userDrawn="1"/>
        </p:nvSpPr>
        <p:spPr>
          <a:xfrm>
            <a:off x="0" y="693805"/>
            <a:ext cx="10688550" cy="616337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chemeClr val="accent6"/>
          </a:solidFill>
          <a:ln w="6350" cap="flat">
            <a:noFill/>
            <a:prstDash val="solid"/>
            <a:miter/>
          </a:ln>
        </p:spPr>
        <p:txBody>
          <a:bodyPr rtlCol="0" anchor="ctr"/>
          <a:lstStyle/>
          <a:p>
            <a:pPr lvl="0"/>
            <a:endParaRPr lang="en-AU" sz="2263"/>
          </a:p>
        </p:txBody>
      </p:sp>
      <p:sp>
        <p:nvSpPr>
          <p:cNvPr id="5" name="Picture Placeholder 4">
            <a:extLst>
              <a:ext uri="{FF2B5EF4-FFF2-40B4-BE49-F238E27FC236}">
                <a16:creationId xmlns:a16="http://schemas.microsoft.com/office/drawing/2014/main" id="{49494BD2-F017-377F-E9DC-49A72415A2B7}"/>
              </a:ext>
            </a:extLst>
          </p:cNvPr>
          <p:cNvSpPr>
            <a:spLocks noGrp="1" noChangeAspect="1"/>
          </p:cNvSpPr>
          <p:nvPr>
            <p:ph type="pic" sz="quarter" idx="20" hasCustomPrompt="1"/>
          </p:nvPr>
        </p:nvSpPr>
        <p:spPr>
          <a:xfrm>
            <a:off x="3941422" y="693805"/>
            <a:ext cx="6746979" cy="6164075"/>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1">
              <a:lumMod val="75000"/>
            </a:schemeClr>
          </a:solidFill>
        </p:spPr>
        <p:txBody>
          <a:bodyPr wrap="square" lIns="3600000" tIns="288000" rIns="360000" bIns="360000" anchor="t" anchorCtr="0">
            <a:noAutofit/>
          </a:bodyPr>
          <a:lstStyle>
            <a:lvl1pPr algn="r">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6" name="Text Placeholder 5">
            <a:extLst>
              <a:ext uri="{FF2B5EF4-FFF2-40B4-BE49-F238E27FC236}">
                <a16:creationId xmlns:a16="http://schemas.microsoft.com/office/drawing/2014/main" id="{1E325ACC-A39B-5A9C-08D1-4350B6146F6C}"/>
              </a:ext>
            </a:extLst>
          </p:cNvPr>
          <p:cNvSpPr>
            <a:spLocks noGrp="1"/>
          </p:cNvSpPr>
          <p:nvPr>
            <p:ph type="body" sz="quarter" idx="21"/>
          </p:nvPr>
        </p:nvSpPr>
        <p:spPr>
          <a:xfrm>
            <a:off x="7033286" y="693804"/>
            <a:ext cx="1035472" cy="1032316"/>
          </a:xfrm>
          <a:custGeom>
            <a:avLst/>
            <a:gdLst>
              <a:gd name="connsiteX0" fmla="*/ 442786 w 885571"/>
              <a:gd name="connsiteY0" fmla="*/ 936364 h 936498"/>
              <a:gd name="connsiteX1" fmla="*/ 442849 w 885571"/>
              <a:gd name="connsiteY1" fmla="*/ 936498 h 936498"/>
              <a:gd name="connsiteX2" fmla="*/ 442722 w 885571"/>
              <a:gd name="connsiteY2" fmla="*/ 936498 h 936498"/>
              <a:gd name="connsiteX3" fmla="*/ 0 w 885571"/>
              <a:gd name="connsiteY3" fmla="*/ 0 h 936498"/>
              <a:gd name="connsiteX4" fmla="*/ 885571 w 885571"/>
              <a:gd name="connsiteY4" fmla="*/ 0 h 936498"/>
              <a:gd name="connsiteX5" fmla="*/ 442786 w 885571"/>
              <a:gd name="connsiteY5" fmla="*/ 936364 h 936498"/>
              <a:gd name="connsiteX6" fmla="*/ 437876 w 885571"/>
              <a:gd name="connsiteY6" fmla="*/ 925981 h 936498"/>
              <a:gd name="connsiteX7" fmla="*/ 0 w 885571"/>
              <a:gd name="connsiteY7" fmla="*/ 0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571" h="936498">
                <a:moveTo>
                  <a:pt x="442786" y="936364"/>
                </a:moveTo>
                <a:lnTo>
                  <a:pt x="442849" y="936498"/>
                </a:lnTo>
                <a:lnTo>
                  <a:pt x="442722" y="936498"/>
                </a:lnTo>
                <a:close/>
                <a:moveTo>
                  <a:pt x="0" y="0"/>
                </a:moveTo>
                <a:lnTo>
                  <a:pt x="885571" y="0"/>
                </a:lnTo>
                <a:lnTo>
                  <a:pt x="442786" y="936364"/>
                </a:lnTo>
                <a:lnTo>
                  <a:pt x="437876" y="925981"/>
                </a:lnTo>
                <a:cubicBezTo>
                  <a:pt x="389223" y="823094"/>
                  <a:pt x="0" y="0"/>
                  <a:pt x="0" y="0"/>
                </a:cubicBezTo>
                <a:close/>
              </a:path>
            </a:pathLst>
          </a:custGeom>
          <a:solidFill>
            <a:schemeClr val="accent1">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Text Placeholder 6">
            <a:extLst>
              <a:ext uri="{FF2B5EF4-FFF2-40B4-BE49-F238E27FC236}">
                <a16:creationId xmlns:a16="http://schemas.microsoft.com/office/drawing/2014/main" id="{33DAFE03-848B-544C-E0CD-10F5B65621C8}"/>
              </a:ext>
            </a:extLst>
          </p:cNvPr>
          <p:cNvSpPr>
            <a:spLocks noGrp="1"/>
          </p:cNvSpPr>
          <p:nvPr>
            <p:ph type="body" sz="quarter" idx="22"/>
          </p:nvPr>
        </p:nvSpPr>
        <p:spPr>
          <a:xfrm>
            <a:off x="6515327" y="693803"/>
            <a:ext cx="1035472" cy="1032316"/>
          </a:xfrm>
          <a:custGeom>
            <a:avLst/>
            <a:gdLst>
              <a:gd name="connsiteX0" fmla="*/ 442786 w 885571"/>
              <a:gd name="connsiteY0" fmla="*/ 134 h 936498"/>
              <a:gd name="connsiteX1" fmla="*/ 447696 w 885571"/>
              <a:gd name="connsiteY1" fmla="*/ 10517 h 936498"/>
              <a:gd name="connsiteX2" fmla="*/ 885571 w 885571"/>
              <a:gd name="connsiteY2" fmla="*/ 936498 h 936498"/>
              <a:gd name="connsiteX3" fmla="*/ 0 w 885571"/>
              <a:gd name="connsiteY3" fmla="*/ 936498 h 936498"/>
              <a:gd name="connsiteX4" fmla="*/ 442722 w 885571"/>
              <a:gd name="connsiteY4" fmla="*/ 0 h 936498"/>
              <a:gd name="connsiteX5" fmla="*/ 442849 w 885571"/>
              <a:gd name="connsiteY5" fmla="*/ 0 h 936498"/>
              <a:gd name="connsiteX6" fmla="*/ 442786 w 885571"/>
              <a:gd name="connsiteY6" fmla="*/ 134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571" h="936498">
                <a:moveTo>
                  <a:pt x="442786" y="134"/>
                </a:moveTo>
                <a:lnTo>
                  <a:pt x="447696" y="10517"/>
                </a:lnTo>
                <a:cubicBezTo>
                  <a:pt x="496349" y="113404"/>
                  <a:pt x="885571" y="936498"/>
                  <a:pt x="885571" y="936498"/>
                </a:cubicBezTo>
                <a:lnTo>
                  <a:pt x="0" y="936498"/>
                </a:lnTo>
                <a:close/>
                <a:moveTo>
                  <a:pt x="442722" y="0"/>
                </a:moveTo>
                <a:lnTo>
                  <a:pt x="442849" y="0"/>
                </a:lnTo>
                <a:lnTo>
                  <a:pt x="442786" y="134"/>
                </a:lnTo>
                <a:close/>
              </a:path>
            </a:pathLst>
          </a:custGeom>
          <a:solidFill>
            <a:schemeClr val="accent1">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8" name="Free-form: Shape 7">
            <a:extLst>
              <a:ext uri="{FF2B5EF4-FFF2-40B4-BE49-F238E27FC236}">
                <a16:creationId xmlns:a16="http://schemas.microsoft.com/office/drawing/2014/main" id="{761D47B5-1DCF-DEA5-AD5A-A87DBB4A210B}"/>
              </a:ext>
            </a:extLst>
          </p:cNvPr>
          <p:cNvSpPr/>
          <p:nvPr userDrawn="1"/>
        </p:nvSpPr>
        <p:spPr>
          <a:xfrm>
            <a:off x="7547384" y="6857740"/>
            <a:ext cx="1545412" cy="697870"/>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tx2"/>
          </a:solidFill>
          <a:ln w="6350" cap="flat">
            <a:noFill/>
            <a:prstDash val="solid"/>
            <a:miter/>
          </a:ln>
        </p:spPr>
        <p:txBody>
          <a:bodyPr rtlCol="0" anchor="ctr"/>
          <a:lstStyle/>
          <a:p>
            <a:pPr lvl="0"/>
            <a:endParaRPr lang="en-AU" sz="2263"/>
          </a:p>
        </p:txBody>
      </p:sp>
      <p:sp>
        <p:nvSpPr>
          <p:cNvPr id="9" name="Free-form: Shape 8">
            <a:extLst>
              <a:ext uri="{FF2B5EF4-FFF2-40B4-BE49-F238E27FC236}">
                <a16:creationId xmlns:a16="http://schemas.microsoft.com/office/drawing/2014/main" id="{42C733FE-249E-F4B6-97A5-9BDCDC7F587F}"/>
              </a:ext>
            </a:extLst>
          </p:cNvPr>
          <p:cNvSpPr/>
          <p:nvPr userDrawn="1"/>
        </p:nvSpPr>
        <p:spPr>
          <a:xfrm>
            <a:off x="7033137" y="-4064"/>
            <a:ext cx="1384738" cy="697869"/>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2263"/>
          </a:p>
        </p:txBody>
      </p:sp>
      <p:sp>
        <p:nvSpPr>
          <p:cNvPr id="14" name="Free-form: Shape 13">
            <a:extLst>
              <a:ext uri="{FF2B5EF4-FFF2-40B4-BE49-F238E27FC236}">
                <a16:creationId xmlns:a16="http://schemas.microsoft.com/office/drawing/2014/main" id="{92D11F13-254D-EE69-56CC-3A9083BCD90B}"/>
              </a:ext>
            </a:extLst>
          </p:cNvPr>
          <p:cNvSpPr/>
          <p:nvPr userDrawn="1"/>
        </p:nvSpPr>
        <p:spPr>
          <a:xfrm>
            <a:off x="7550800" y="693805"/>
            <a:ext cx="517810" cy="1032315"/>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2263"/>
          </a:p>
        </p:txBody>
      </p:sp>
      <p:sp>
        <p:nvSpPr>
          <p:cNvPr id="16" name="Text Placeholder 15">
            <a:extLst>
              <a:ext uri="{FF2B5EF4-FFF2-40B4-BE49-F238E27FC236}">
                <a16:creationId xmlns:a16="http://schemas.microsoft.com/office/drawing/2014/main" id="{B23DDCEF-71FC-3732-8A04-4455123CB7A9}"/>
              </a:ext>
            </a:extLst>
          </p:cNvPr>
          <p:cNvSpPr>
            <a:spLocks noGrp="1"/>
          </p:cNvSpPr>
          <p:nvPr>
            <p:ph type="body" sz="quarter" idx="23"/>
          </p:nvPr>
        </p:nvSpPr>
        <p:spPr>
          <a:xfrm>
            <a:off x="5997664" y="693803"/>
            <a:ext cx="1553283" cy="1032316"/>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8" name="Text Placeholder 17">
            <a:extLst>
              <a:ext uri="{FF2B5EF4-FFF2-40B4-BE49-F238E27FC236}">
                <a16:creationId xmlns:a16="http://schemas.microsoft.com/office/drawing/2014/main" id="{65BB121C-7A8C-12E6-80A7-C9F5E0082968}"/>
              </a:ext>
            </a:extLst>
          </p:cNvPr>
          <p:cNvSpPr>
            <a:spLocks noGrp="1"/>
          </p:cNvSpPr>
          <p:nvPr>
            <p:ph type="body" sz="quarter" idx="24"/>
          </p:nvPr>
        </p:nvSpPr>
        <p:spPr>
          <a:xfrm>
            <a:off x="7897835" y="5666672"/>
            <a:ext cx="1794443" cy="1193869"/>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tx2">
              <a:alpha val="50000"/>
            </a:schemeClr>
          </a:solidFill>
        </p:spPr>
        <p:txBody>
          <a:bodyPr vert="horz" wrap="square" lIns="0" tIns="0" rIns="0" bIns="0" rtlCol="0">
            <a:noAutofit/>
          </a:bodyPr>
          <a:lstStyle>
            <a:lvl1pPr>
              <a:defRPr lang="en-US" sz="441" dirty="0">
                <a:noFill/>
              </a:defRPr>
            </a:lvl1pPr>
            <a:lvl2pPr>
              <a:defRPr lang="en-US" sz="441" dirty="0">
                <a:noFill/>
              </a:defRPr>
            </a:lvl2pPr>
            <a:lvl3pPr>
              <a:defRPr lang="en-US" sz="441" dirty="0">
                <a:noFill/>
              </a:defRPr>
            </a:lvl3pPr>
            <a:lvl4pPr>
              <a:defRPr lang="en-US" sz="441" dirty="0">
                <a:noFill/>
              </a:defRPr>
            </a:lvl4pPr>
            <a:lvl5pPr>
              <a:defRPr lang="en-US" sz="441" dirty="0">
                <a:noFill/>
              </a:defRPr>
            </a:lvl5pPr>
            <a:lvl6pPr>
              <a:defRPr lang="en-US" sz="441" dirty="0">
                <a:noFill/>
              </a:defRPr>
            </a:lvl6pPr>
            <a:lvl7pPr>
              <a:defRPr lang="en-US" sz="441" dirty="0">
                <a:noFill/>
              </a:defRPr>
            </a:lvl7pPr>
            <a:lvl8pPr>
              <a:defRPr lang="en-US" sz="441" dirty="0">
                <a:noFill/>
              </a:defRPr>
            </a:lvl8pPr>
            <a:lvl9pPr>
              <a:defRPr lang="en-AU" sz="441" dirty="0">
                <a:noFill/>
              </a:defRPr>
            </a:lvl9pPr>
          </a:lstStyle>
          <a:p>
            <a:pPr lvl="0">
              <a:spcBef>
                <a:spcPts val="0"/>
              </a:spcBef>
            </a:pPr>
            <a:r>
              <a:rPr lang="en-US"/>
              <a:t>Click to edit Master text styles</a:t>
            </a:r>
          </a:p>
          <a:p>
            <a:pPr lvl="1">
              <a:spcBef>
                <a:spcPts val="0"/>
              </a:spcBef>
            </a:pPr>
            <a:r>
              <a:rPr lang="en-US"/>
              <a:t>Second level</a:t>
            </a:r>
          </a:p>
          <a:p>
            <a:pPr lvl="2">
              <a:spcBef>
                <a:spcPts val="0"/>
              </a:spcBef>
            </a:pPr>
            <a:r>
              <a:rPr lang="en-US"/>
              <a:t>Third level</a:t>
            </a:r>
          </a:p>
          <a:p>
            <a:pPr lvl="3">
              <a:spcBef>
                <a:spcPts val="0"/>
              </a:spcBef>
            </a:pPr>
            <a:r>
              <a:rPr lang="en-US"/>
              <a:t>Fourth level</a:t>
            </a:r>
          </a:p>
          <a:p>
            <a:pPr lvl="4">
              <a:spcBef>
                <a:spcPts val="0"/>
              </a:spcBef>
            </a:pPr>
            <a:r>
              <a:rPr lang="en-US"/>
              <a:t>Fifth level</a:t>
            </a:r>
            <a:endParaRPr lang="en-AU" dirty="0"/>
          </a:p>
        </p:txBody>
      </p:sp>
      <p:sp>
        <p:nvSpPr>
          <p:cNvPr id="19" name="Text Placeholder 18">
            <a:extLst>
              <a:ext uri="{FF2B5EF4-FFF2-40B4-BE49-F238E27FC236}">
                <a16:creationId xmlns:a16="http://schemas.microsoft.com/office/drawing/2014/main" id="{16DD6E17-2BA5-2E07-079F-711BDFC6475F}"/>
              </a:ext>
            </a:extLst>
          </p:cNvPr>
          <p:cNvSpPr>
            <a:spLocks noGrp="1"/>
          </p:cNvSpPr>
          <p:nvPr>
            <p:ph type="body" sz="quarter" idx="25"/>
          </p:nvPr>
        </p:nvSpPr>
        <p:spPr>
          <a:xfrm>
            <a:off x="8498807" y="5666672"/>
            <a:ext cx="1787315" cy="1191209"/>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568002" y="7004053"/>
            <a:ext cx="5240004" cy="396833"/>
          </a:xfrm>
          <a:prstGeom prst="rect">
            <a:avLst/>
          </a:prstGeom>
        </p:spPr>
        <p:txBody>
          <a:bodyPr vert="horz" lIns="0" tIns="0" rIns="0" bIns="0" rtlCol="0" anchor="ctr"/>
          <a:lstStyle>
            <a:lvl1pPr algn="l">
              <a:defRPr sz="1102">
                <a:solidFill>
                  <a:schemeClr val="accent6"/>
                </a:solidFill>
              </a:defRPr>
            </a:lvl1pPr>
          </a:lstStyle>
          <a:p>
            <a:r>
              <a:rPr lang="en-GB"/>
              <a:t>To add a Footer, select 'Insert &gt; Header &amp; Footer'</a:t>
            </a:r>
            <a:endParaRPr lang="en-GB" dirty="0"/>
          </a:p>
        </p:txBody>
      </p:sp>
      <p:sp>
        <p:nvSpPr>
          <p:cNvPr id="2" name="Subtitle 2">
            <a:extLst>
              <a:ext uri="{FF2B5EF4-FFF2-40B4-BE49-F238E27FC236}">
                <a16:creationId xmlns:a16="http://schemas.microsoft.com/office/drawing/2014/main" id="{AD48F861-7E55-A416-6C10-E8F443B1817B}"/>
              </a:ext>
            </a:extLst>
          </p:cNvPr>
          <p:cNvSpPr>
            <a:spLocks noGrp="1"/>
          </p:cNvSpPr>
          <p:nvPr>
            <p:ph type="subTitle" idx="1" hasCustomPrompt="1"/>
          </p:nvPr>
        </p:nvSpPr>
        <p:spPr>
          <a:xfrm>
            <a:off x="564738" y="2675708"/>
            <a:ext cx="4419844" cy="1587333"/>
          </a:xfrm>
        </p:spPr>
        <p:txBody>
          <a:bodyPr/>
          <a:lstStyle>
            <a:lvl1pPr marL="0" indent="0" algn="l">
              <a:buNone/>
              <a:defRPr sz="2535" b="0">
                <a:solidFill>
                  <a:schemeClr val="bg1"/>
                </a:solidFill>
              </a:defRPr>
            </a:lvl1pPr>
            <a:lvl2pPr marL="0" indent="0" algn="l">
              <a:buNone/>
              <a:defRPr sz="2535" b="0">
                <a:solidFill>
                  <a:schemeClr val="accent3"/>
                </a:solidFill>
              </a:defRPr>
            </a:lvl2pPr>
            <a:lvl3pPr marL="0" indent="0" algn="l">
              <a:buNone/>
              <a:defRPr sz="2535" b="0">
                <a:solidFill>
                  <a:schemeClr val="bg1"/>
                </a:solidFill>
              </a:defRPr>
            </a:lvl3pPr>
            <a:lvl4pPr marL="0" indent="0" algn="l">
              <a:buNone/>
              <a:defRPr sz="2535" b="0">
                <a:solidFill>
                  <a:schemeClr val="bg1"/>
                </a:solidFill>
              </a:defRPr>
            </a:lvl4pPr>
            <a:lvl5pPr marL="0" indent="0" algn="l">
              <a:buNone/>
              <a:defRPr sz="2535" b="0">
                <a:solidFill>
                  <a:schemeClr val="bg1"/>
                </a:solidFill>
              </a:defRPr>
            </a:lvl5pPr>
            <a:lvl6pPr marL="0" indent="0" algn="l">
              <a:buNone/>
              <a:defRPr sz="2535" b="0">
                <a:solidFill>
                  <a:schemeClr val="bg1"/>
                </a:solidFill>
              </a:defRPr>
            </a:lvl6pPr>
            <a:lvl7pPr marL="0" indent="0" algn="l">
              <a:buNone/>
              <a:defRPr sz="2535" b="0">
                <a:solidFill>
                  <a:schemeClr val="bg1"/>
                </a:solidFill>
              </a:defRPr>
            </a:lvl7pPr>
            <a:lvl8pPr marL="0" indent="0" algn="l">
              <a:buNone/>
              <a:defRPr sz="2535" b="0">
                <a:solidFill>
                  <a:schemeClr val="bg1"/>
                </a:solidFill>
              </a:defRPr>
            </a:lvl8pPr>
            <a:lvl9pPr marL="0" indent="0" algn="l">
              <a:buNone/>
              <a:defRPr sz="2535" b="0">
                <a:solidFill>
                  <a:schemeClr val="bg1"/>
                </a:solidFill>
              </a:defRPr>
            </a:lvl9pPr>
          </a:lstStyle>
          <a:p>
            <a:r>
              <a:rPr lang="en-US" dirty="0"/>
              <a:t>Click to add subheading</a:t>
            </a:r>
            <a:endParaRPr lang="en-GB" dirty="0"/>
          </a:p>
        </p:txBody>
      </p:sp>
      <p:sp>
        <p:nvSpPr>
          <p:cNvPr id="3" name="Title 10">
            <a:extLst>
              <a:ext uri="{FF2B5EF4-FFF2-40B4-BE49-F238E27FC236}">
                <a16:creationId xmlns:a16="http://schemas.microsoft.com/office/drawing/2014/main" id="{11278E5F-8266-8988-9BC9-757920918B93}"/>
              </a:ext>
            </a:extLst>
          </p:cNvPr>
          <p:cNvSpPr>
            <a:spLocks noGrp="1"/>
          </p:cNvSpPr>
          <p:nvPr>
            <p:ph type="title" hasCustomPrompt="1"/>
          </p:nvPr>
        </p:nvSpPr>
        <p:spPr>
          <a:xfrm>
            <a:off x="568001" y="1391815"/>
            <a:ext cx="4419844" cy="1190500"/>
          </a:xfrm>
        </p:spPr>
        <p:txBody>
          <a:bodyPr anchor="b" anchorCtr="0"/>
          <a:lstStyle>
            <a:lvl1pPr>
              <a:defRPr sz="3417">
                <a:solidFill>
                  <a:schemeClr val="bg1"/>
                </a:solidFill>
              </a:defRPr>
            </a:lvl1pPr>
          </a:lstStyle>
          <a:p>
            <a:r>
              <a:rPr lang="en-US" dirty="0"/>
              <a:t>Section Header</a:t>
            </a:r>
            <a:endParaRPr lang="en-GB" dirty="0"/>
          </a:p>
        </p:txBody>
      </p:sp>
      <p:sp>
        <p:nvSpPr>
          <p:cNvPr id="12" name="Slide Number Placeholder 5">
            <a:extLst>
              <a:ext uri="{FF2B5EF4-FFF2-40B4-BE49-F238E27FC236}">
                <a16:creationId xmlns:a16="http://schemas.microsoft.com/office/drawing/2014/main" id="{053C4647-9866-8687-AC61-706DD630EC18}"/>
              </a:ext>
            </a:extLst>
          </p:cNvPr>
          <p:cNvSpPr>
            <a:spLocks noGrp="1"/>
          </p:cNvSpPr>
          <p:nvPr>
            <p:ph type="sldNum" sz="quarter" idx="4"/>
          </p:nvPr>
        </p:nvSpPr>
        <p:spPr>
          <a:xfrm>
            <a:off x="9750219" y="7004053"/>
            <a:ext cx="631406" cy="396833"/>
          </a:xfrm>
          <a:prstGeom prst="rect">
            <a:avLst/>
          </a:prstGeom>
        </p:spPr>
        <p:txBody>
          <a:bodyPr vert="horz" lIns="0" tIns="0" rIns="0" bIns="0" rtlCol="0" anchor="ctr"/>
          <a:lstStyle>
            <a:lvl1pPr algn="l">
              <a:defRPr sz="1102">
                <a:solidFill>
                  <a:schemeClr val="accent6"/>
                </a:solidFill>
              </a:defRPr>
            </a:lvl1pPr>
          </a:lstStyle>
          <a:p>
            <a:r>
              <a:rPr lang="en-GB" dirty="0"/>
              <a:t>Page </a:t>
            </a:r>
            <a:fld id="{F5AEA0E0-5CC6-4BD0-905C-A0021E419432}" type="slidenum">
              <a:rPr lang="en-GB" smtClean="0"/>
              <a:pPr/>
              <a:t>‹#›</a:t>
            </a:fld>
            <a:endParaRPr lang="en-GB" dirty="0"/>
          </a:p>
        </p:txBody>
      </p:sp>
      <p:cxnSp>
        <p:nvCxnSpPr>
          <p:cNvPr id="13" name="Straight Connector 12">
            <a:extLst>
              <a:ext uri="{FF2B5EF4-FFF2-40B4-BE49-F238E27FC236}">
                <a16:creationId xmlns:a16="http://schemas.microsoft.com/office/drawing/2014/main" id="{4CA80ADE-153B-89EB-C45C-110A3EAD8DEA}"/>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75755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Header full width image">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A0C810F8-DFAB-09FF-9C62-9FCB8ECA197D}"/>
              </a:ext>
            </a:extLst>
          </p:cNvPr>
          <p:cNvSpPr>
            <a:spLocks noGrp="1" noChangeAspect="1"/>
          </p:cNvSpPr>
          <p:nvPr>
            <p:ph type="pic" sz="quarter" idx="20" hasCustomPrompt="1"/>
          </p:nvPr>
        </p:nvSpPr>
        <p:spPr>
          <a:xfrm>
            <a:off x="1" y="693805"/>
            <a:ext cx="10688401" cy="6164075"/>
          </a:xfrm>
          <a:prstGeom prst="rect">
            <a:avLst/>
          </a:prstGeom>
          <a:solidFill>
            <a:schemeClr val="bg1">
              <a:lumMod val="75000"/>
            </a:schemeClr>
          </a:solidFill>
        </p:spPr>
        <p:txBody>
          <a:bodyPr wrap="square" lIns="6840000" tIns="288000" rIns="360000" bIns="360000" anchor="t" anchorCtr="0">
            <a:noAutofit/>
          </a:bodyPr>
          <a:lstStyle>
            <a:lvl1pPr algn="r">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568002" y="7004053"/>
            <a:ext cx="5240004" cy="396833"/>
          </a:xfrm>
          <a:prstGeom prst="rect">
            <a:avLst/>
          </a:prstGeom>
        </p:spPr>
        <p:txBody>
          <a:bodyPr vert="horz" lIns="0" tIns="0" rIns="0" bIns="0" rtlCol="0" anchor="ctr"/>
          <a:lstStyle>
            <a:lvl1pPr algn="l">
              <a:defRPr sz="1102">
                <a:solidFill>
                  <a:schemeClr val="accent6"/>
                </a:solidFill>
              </a:defRPr>
            </a:lvl1pPr>
          </a:lstStyle>
          <a:p>
            <a:r>
              <a:rPr lang="en-GB"/>
              <a:t>To add a Footer, select 'Insert &gt; Header &amp; Footer'</a:t>
            </a:r>
            <a:endParaRPr lang="en-GB" dirty="0"/>
          </a:p>
        </p:txBody>
      </p:sp>
      <p:sp>
        <p:nvSpPr>
          <p:cNvPr id="16" name="Text Placeholder 15">
            <a:extLst>
              <a:ext uri="{FF2B5EF4-FFF2-40B4-BE49-F238E27FC236}">
                <a16:creationId xmlns:a16="http://schemas.microsoft.com/office/drawing/2014/main" id="{6230822B-F962-DB00-EE97-E4256C54DAD4}"/>
              </a:ext>
            </a:extLst>
          </p:cNvPr>
          <p:cNvSpPr>
            <a:spLocks noGrp="1"/>
          </p:cNvSpPr>
          <p:nvPr>
            <p:ph type="body" sz="quarter" idx="15"/>
          </p:nvPr>
        </p:nvSpPr>
        <p:spPr>
          <a:xfrm>
            <a:off x="7033286" y="693804"/>
            <a:ext cx="1035472" cy="1032316"/>
          </a:xfrm>
          <a:custGeom>
            <a:avLst/>
            <a:gdLst>
              <a:gd name="connsiteX0" fmla="*/ 442786 w 885571"/>
              <a:gd name="connsiteY0" fmla="*/ 936364 h 936498"/>
              <a:gd name="connsiteX1" fmla="*/ 442849 w 885571"/>
              <a:gd name="connsiteY1" fmla="*/ 936498 h 936498"/>
              <a:gd name="connsiteX2" fmla="*/ 442722 w 885571"/>
              <a:gd name="connsiteY2" fmla="*/ 936498 h 936498"/>
              <a:gd name="connsiteX3" fmla="*/ 0 w 885571"/>
              <a:gd name="connsiteY3" fmla="*/ 0 h 936498"/>
              <a:gd name="connsiteX4" fmla="*/ 885571 w 885571"/>
              <a:gd name="connsiteY4" fmla="*/ 0 h 936498"/>
              <a:gd name="connsiteX5" fmla="*/ 442786 w 885571"/>
              <a:gd name="connsiteY5" fmla="*/ 936364 h 936498"/>
              <a:gd name="connsiteX6" fmla="*/ 437876 w 885571"/>
              <a:gd name="connsiteY6" fmla="*/ 925981 h 936498"/>
              <a:gd name="connsiteX7" fmla="*/ 0 w 885571"/>
              <a:gd name="connsiteY7" fmla="*/ 0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571" h="936498">
                <a:moveTo>
                  <a:pt x="442786" y="936364"/>
                </a:moveTo>
                <a:lnTo>
                  <a:pt x="442849" y="936498"/>
                </a:lnTo>
                <a:lnTo>
                  <a:pt x="442722" y="936498"/>
                </a:lnTo>
                <a:close/>
                <a:moveTo>
                  <a:pt x="0" y="0"/>
                </a:moveTo>
                <a:lnTo>
                  <a:pt x="885571" y="0"/>
                </a:lnTo>
                <a:lnTo>
                  <a:pt x="442786" y="936364"/>
                </a:lnTo>
                <a:lnTo>
                  <a:pt x="437876" y="925981"/>
                </a:lnTo>
                <a:cubicBezTo>
                  <a:pt x="389223" y="823094"/>
                  <a:pt x="0" y="0"/>
                  <a:pt x="0" y="0"/>
                </a:cubicBezTo>
                <a:close/>
              </a:path>
            </a:pathLst>
          </a:custGeom>
          <a:solidFill>
            <a:schemeClr val="accent1">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8" name="Text Placeholder 17">
            <a:extLst>
              <a:ext uri="{FF2B5EF4-FFF2-40B4-BE49-F238E27FC236}">
                <a16:creationId xmlns:a16="http://schemas.microsoft.com/office/drawing/2014/main" id="{682D5331-408D-EF45-7B7C-C5B7E1DA757B}"/>
              </a:ext>
            </a:extLst>
          </p:cNvPr>
          <p:cNvSpPr>
            <a:spLocks noGrp="1"/>
          </p:cNvSpPr>
          <p:nvPr>
            <p:ph type="body" sz="quarter" idx="17"/>
          </p:nvPr>
        </p:nvSpPr>
        <p:spPr>
          <a:xfrm>
            <a:off x="6515327" y="693803"/>
            <a:ext cx="1035472" cy="1032316"/>
          </a:xfrm>
          <a:custGeom>
            <a:avLst/>
            <a:gdLst>
              <a:gd name="connsiteX0" fmla="*/ 442786 w 885571"/>
              <a:gd name="connsiteY0" fmla="*/ 134 h 936498"/>
              <a:gd name="connsiteX1" fmla="*/ 447696 w 885571"/>
              <a:gd name="connsiteY1" fmla="*/ 10517 h 936498"/>
              <a:gd name="connsiteX2" fmla="*/ 885571 w 885571"/>
              <a:gd name="connsiteY2" fmla="*/ 936498 h 936498"/>
              <a:gd name="connsiteX3" fmla="*/ 0 w 885571"/>
              <a:gd name="connsiteY3" fmla="*/ 936498 h 936498"/>
              <a:gd name="connsiteX4" fmla="*/ 442722 w 885571"/>
              <a:gd name="connsiteY4" fmla="*/ 0 h 936498"/>
              <a:gd name="connsiteX5" fmla="*/ 442849 w 885571"/>
              <a:gd name="connsiteY5" fmla="*/ 0 h 936498"/>
              <a:gd name="connsiteX6" fmla="*/ 442786 w 885571"/>
              <a:gd name="connsiteY6" fmla="*/ 134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571" h="936498">
                <a:moveTo>
                  <a:pt x="442786" y="134"/>
                </a:moveTo>
                <a:lnTo>
                  <a:pt x="447696" y="10517"/>
                </a:lnTo>
                <a:cubicBezTo>
                  <a:pt x="496349" y="113404"/>
                  <a:pt x="885571" y="936498"/>
                  <a:pt x="885571" y="936498"/>
                </a:cubicBezTo>
                <a:lnTo>
                  <a:pt x="0" y="936498"/>
                </a:lnTo>
                <a:close/>
                <a:moveTo>
                  <a:pt x="442722" y="0"/>
                </a:moveTo>
                <a:lnTo>
                  <a:pt x="442849" y="0"/>
                </a:lnTo>
                <a:lnTo>
                  <a:pt x="442786" y="134"/>
                </a:lnTo>
                <a:close/>
              </a:path>
            </a:pathLst>
          </a:custGeom>
          <a:solidFill>
            <a:schemeClr val="accent1">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9" name="Free-form: Shape 18">
            <a:extLst>
              <a:ext uri="{FF2B5EF4-FFF2-40B4-BE49-F238E27FC236}">
                <a16:creationId xmlns:a16="http://schemas.microsoft.com/office/drawing/2014/main" id="{A3A3D436-8180-38F3-59D6-0BA3DD774A4D}"/>
              </a:ext>
            </a:extLst>
          </p:cNvPr>
          <p:cNvSpPr/>
          <p:nvPr userDrawn="1"/>
        </p:nvSpPr>
        <p:spPr>
          <a:xfrm>
            <a:off x="7547384" y="6857740"/>
            <a:ext cx="1545412" cy="697870"/>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tx2"/>
          </a:solidFill>
          <a:ln w="6350" cap="flat">
            <a:noFill/>
            <a:prstDash val="solid"/>
            <a:miter/>
          </a:ln>
        </p:spPr>
        <p:txBody>
          <a:bodyPr rtlCol="0" anchor="ctr"/>
          <a:lstStyle/>
          <a:p>
            <a:pPr lvl="0"/>
            <a:endParaRPr lang="en-AU" sz="2263"/>
          </a:p>
        </p:txBody>
      </p:sp>
      <p:sp>
        <p:nvSpPr>
          <p:cNvPr id="26" name="Free-form: Shape 25">
            <a:extLst>
              <a:ext uri="{FF2B5EF4-FFF2-40B4-BE49-F238E27FC236}">
                <a16:creationId xmlns:a16="http://schemas.microsoft.com/office/drawing/2014/main" id="{41BC3F22-BF2C-9936-4961-258371143F9B}"/>
              </a:ext>
            </a:extLst>
          </p:cNvPr>
          <p:cNvSpPr/>
          <p:nvPr userDrawn="1"/>
        </p:nvSpPr>
        <p:spPr>
          <a:xfrm>
            <a:off x="7033137" y="-4064"/>
            <a:ext cx="1384738" cy="697869"/>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2263"/>
          </a:p>
        </p:txBody>
      </p:sp>
      <p:sp>
        <p:nvSpPr>
          <p:cNvPr id="27" name="Free-form: Shape 26">
            <a:extLst>
              <a:ext uri="{FF2B5EF4-FFF2-40B4-BE49-F238E27FC236}">
                <a16:creationId xmlns:a16="http://schemas.microsoft.com/office/drawing/2014/main" id="{2315349F-5DCB-7C77-ADF4-93BBD78D466D}"/>
              </a:ext>
            </a:extLst>
          </p:cNvPr>
          <p:cNvSpPr/>
          <p:nvPr userDrawn="1"/>
        </p:nvSpPr>
        <p:spPr>
          <a:xfrm>
            <a:off x="7550800" y="693805"/>
            <a:ext cx="517810" cy="1032315"/>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2263"/>
          </a:p>
        </p:txBody>
      </p:sp>
      <p:sp>
        <p:nvSpPr>
          <p:cNvPr id="28" name="Free-form: Shape 27">
            <a:extLst>
              <a:ext uri="{FF2B5EF4-FFF2-40B4-BE49-F238E27FC236}">
                <a16:creationId xmlns:a16="http://schemas.microsoft.com/office/drawing/2014/main" id="{1407844C-B43F-E7F1-25BB-730A42F8C798}"/>
              </a:ext>
            </a:extLst>
          </p:cNvPr>
          <p:cNvSpPr/>
          <p:nvPr userDrawn="1"/>
        </p:nvSpPr>
        <p:spPr>
          <a:xfrm>
            <a:off x="372287" y="-4064"/>
            <a:ext cx="10319530" cy="698010"/>
          </a:xfrm>
          <a:custGeom>
            <a:avLst/>
            <a:gdLst>
              <a:gd name="connsiteX0" fmla="*/ 0 w 8825611"/>
              <a:gd name="connsiteY0" fmla="*/ 0 h 633222"/>
              <a:gd name="connsiteX1" fmla="*/ 8825611 w 8825611"/>
              <a:gd name="connsiteY1" fmla="*/ 0 h 633222"/>
              <a:gd name="connsiteX2" fmla="*/ 8825611 w 8825611"/>
              <a:gd name="connsiteY2" fmla="*/ 633222 h 633222"/>
              <a:gd name="connsiteX3" fmla="*/ 0 w 8825611"/>
              <a:gd name="connsiteY3" fmla="*/ 633222 h 633222"/>
            </a:gdLst>
            <a:ahLst/>
            <a:cxnLst>
              <a:cxn ang="0">
                <a:pos x="connsiteX0" y="connsiteY0"/>
              </a:cxn>
              <a:cxn ang="0">
                <a:pos x="connsiteX1" y="connsiteY1"/>
              </a:cxn>
              <a:cxn ang="0">
                <a:pos x="connsiteX2" y="connsiteY2"/>
              </a:cxn>
              <a:cxn ang="0">
                <a:pos x="connsiteX3" y="connsiteY3"/>
              </a:cxn>
            </a:cxnLst>
            <a:rect l="l" t="t" r="r" b="b"/>
            <a:pathLst>
              <a:path w="8825611" h="633222">
                <a:moveTo>
                  <a:pt x="0" y="0"/>
                </a:moveTo>
                <a:lnTo>
                  <a:pt x="8825611" y="0"/>
                </a:lnTo>
                <a:lnTo>
                  <a:pt x="8825611" y="633222"/>
                </a:lnTo>
                <a:lnTo>
                  <a:pt x="0" y="633222"/>
                </a:lnTo>
                <a:close/>
              </a:path>
            </a:pathLst>
          </a:custGeom>
          <a:noFill/>
          <a:ln w="12691" cap="flat">
            <a:noFill/>
            <a:prstDash val="solid"/>
            <a:miter/>
          </a:ln>
        </p:spPr>
        <p:txBody>
          <a:bodyPr rtlCol="0" anchor="ctr"/>
          <a:lstStyle/>
          <a:p>
            <a:endParaRPr lang="en-AU" sz="2263"/>
          </a:p>
        </p:txBody>
      </p:sp>
      <p:sp>
        <p:nvSpPr>
          <p:cNvPr id="29" name="Text Placeholder 28">
            <a:extLst>
              <a:ext uri="{FF2B5EF4-FFF2-40B4-BE49-F238E27FC236}">
                <a16:creationId xmlns:a16="http://schemas.microsoft.com/office/drawing/2014/main" id="{B44498DC-53F4-4976-1118-A8506276F416}"/>
              </a:ext>
            </a:extLst>
          </p:cNvPr>
          <p:cNvSpPr>
            <a:spLocks noGrp="1"/>
          </p:cNvSpPr>
          <p:nvPr>
            <p:ph type="body" sz="quarter" idx="18"/>
          </p:nvPr>
        </p:nvSpPr>
        <p:spPr>
          <a:xfrm>
            <a:off x="5997664" y="693803"/>
            <a:ext cx="1553283" cy="1032316"/>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0" name="Text Placeholder 29">
            <a:extLst>
              <a:ext uri="{FF2B5EF4-FFF2-40B4-BE49-F238E27FC236}">
                <a16:creationId xmlns:a16="http://schemas.microsoft.com/office/drawing/2014/main" id="{578D3637-7058-A75F-A9AF-CA3F50EE0F9E}"/>
              </a:ext>
            </a:extLst>
          </p:cNvPr>
          <p:cNvSpPr>
            <a:spLocks noGrp="1"/>
          </p:cNvSpPr>
          <p:nvPr>
            <p:ph type="body" sz="quarter" idx="19"/>
          </p:nvPr>
        </p:nvSpPr>
        <p:spPr>
          <a:xfrm>
            <a:off x="7897835" y="5666672"/>
            <a:ext cx="1794443" cy="1193869"/>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tx2">
              <a:alpha val="50000"/>
            </a:schemeClr>
          </a:solidFill>
        </p:spPr>
        <p:txBody>
          <a:bodyPr vert="horz" wrap="square" lIns="0" tIns="0" rIns="0" bIns="0" rtlCol="0">
            <a:noAutofit/>
          </a:bodyPr>
          <a:lstStyle>
            <a:lvl1pPr>
              <a:defRPr lang="en-US" sz="441" dirty="0">
                <a:noFill/>
              </a:defRPr>
            </a:lvl1pPr>
            <a:lvl2pPr>
              <a:defRPr lang="en-US" sz="441" dirty="0">
                <a:noFill/>
              </a:defRPr>
            </a:lvl2pPr>
            <a:lvl3pPr>
              <a:defRPr lang="en-US" sz="441" dirty="0">
                <a:noFill/>
              </a:defRPr>
            </a:lvl3pPr>
            <a:lvl4pPr>
              <a:defRPr lang="en-US" sz="441" dirty="0">
                <a:noFill/>
              </a:defRPr>
            </a:lvl4pPr>
            <a:lvl5pPr>
              <a:defRPr lang="en-US" sz="441" dirty="0">
                <a:noFill/>
              </a:defRPr>
            </a:lvl5pPr>
            <a:lvl6pPr>
              <a:defRPr lang="en-US" sz="441" dirty="0">
                <a:noFill/>
              </a:defRPr>
            </a:lvl6pPr>
            <a:lvl7pPr>
              <a:defRPr lang="en-US" sz="441" dirty="0">
                <a:noFill/>
              </a:defRPr>
            </a:lvl7pPr>
            <a:lvl8pPr>
              <a:defRPr lang="en-US" sz="441" dirty="0">
                <a:noFill/>
              </a:defRPr>
            </a:lvl8pPr>
            <a:lvl9pPr>
              <a:defRPr lang="en-AU" sz="441" dirty="0">
                <a:noFill/>
              </a:defRPr>
            </a:lvl9pPr>
          </a:lstStyle>
          <a:p>
            <a:pPr lvl="0">
              <a:spcBef>
                <a:spcPts val="0"/>
              </a:spcBef>
            </a:pPr>
            <a:r>
              <a:rPr lang="en-US"/>
              <a:t>Click to edit Master text styles</a:t>
            </a:r>
          </a:p>
          <a:p>
            <a:pPr lvl="1">
              <a:spcBef>
                <a:spcPts val="0"/>
              </a:spcBef>
            </a:pPr>
            <a:r>
              <a:rPr lang="en-US"/>
              <a:t>Second level</a:t>
            </a:r>
          </a:p>
          <a:p>
            <a:pPr lvl="2">
              <a:spcBef>
                <a:spcPts val="0"/>
              </a:spcBef>
            </a:pPr>
            <a:r>
              <a:rPr lang="en-US"/>
              <a:t>Third level</a:t>
            </a:r>
          </a:p>
          <a:p>
            <a:pPr lvl="3">
              <a:spcBef>
                <a:spcPts val="0"/>
              </a:spcBef>
            </a:pPr>
            <a:r>
              <a:rPr lang="en-US"/>
              <a:t>Fourth level</a:t>
            </a:r>
          </a:p>
          <a:p>
            <a:pPr lvl="4">
              <a:spcBef>
                <a:spcPts val="0"/>
              </a:spcBef>
            </a:pPr>
            <a:r>
              <a:rPr lang="en-US"/>
              <a:t>Fifth level</a:t>
            </a:r>
            <a:endParaRPr lang="en-AU" dirty="0"/>
          </a:p>
        </p:txBody>
      </p:sp>
      <p:sp>
        <p:nvSpPr>
          <p:cNvPr id="31" name="Text Placeholder 30">
            <a:extLst>
              <a:ext uri="{FF2B5EF4-FFF2-40B4-BE49-F238E27FC236}">
                <a16:creationId xmlns:a16="http://schemas.microsoft.com/office/drawing/2014/main" id="{2837DE7F-B0A0-98EB-E050-22BBFBCCB4C2}"/>
              </a:ext>
            </a:extLst>
          </p:cNvPr>
          <p:cNvSpPr>
            <a:spLocks noGrp="1"/>
          </p:cNvSpPr>
          <p:nvPr>
            <p:ph type="body" sz="quarter" idx="16"/>
          </p:nvPr>
        </p:nvSpPr>
        <p:spPr>
          <a:xfrm>
            <a:off x="8498807" y="5666672"/>
            <a:ext cx="1787315" cy="1191209"/>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0" name="Text Placeholder 39">
            <a:extLst>
              <a:ext uri="{FF2B5EF4-FFF2-40B4-BE49-F238E27FC236}">
                <a16:creationId xmlns:a16="http://schemas.microsoft.com/office/drawing/2014/main" id="{24349991-AE8C-CA92-BF55-D82BA54DBCB2}"/>
              </a:ext>
            </a:extLst>
          </p:cNvPr>
          <p:cNvSpPr>
            <a:spLocks noGrp="1"/>
          </p:cNvSpPr>
          <p:nvPr>
            <p:ph type="body" sz="quarter" idx="21"/>
          </p:nvPr>
        </p:nvSpPr>
        <p:spPr>
          <a:xfrm>
            <a:off x="1" y="693804"/>
            <a:ext cx="7033137" cy="6163375"/>
          </a:xfrm>
          <a:custGeom>
            <a:avLst/>
            <a:gdLst>
              <a:gd name="connsiteX0" fmla="*/ 0 w 6014977"/>
              <a:gd name="connsiteY0" fmla="*/ 0 h 5591302"/>
              <a:gd name="connsiteX1" fmla="*/ 6014977 w 6014977"/>
              <a:gd name="connsiteY1" fmla="*/ 0 h 5591302"/>
              <a:gd name="connsiteX2" fmla="*/ 3371137 w 6014977"/>
              <a:gd name="connsiteY2" fmla="*/ 5591302 h 5591302"/>
              <a:gd name="connsiteX3" fmla="*/ 0 w 6014977"/>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6014977" h="5591302">
                <a:moveTo>
                  <a:pt x="0" y="0"/>
                </a:moveTo>
                <a:lnTo>
                  <a:pt x="6014977" y="0"/>
                </a:lnTo>
                <a:lnTo>
                  <a:pt x="3371137" y="5591302"/>
                </a:lnTo>
                <a:lnTo>
                  <a:pt x="0" y="5591302"/>
                </a:lnTo>
                <a:close/>
              </a:path>
            </a:pathLst>
          </a:custGeom>
          <a:solidFill>
            <a:schemeClr val="tx2">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9" name="Title 10">
            <a:extLst>
              <a:ext uri="{FF2B5EF4-FFF2-40B4-BE49-F238E27FC236}">
                <a16:creationId xmlns:a16="http://schemas.microsoft.com/office/drawing/2014/main" id="{A6F139C8-B6EF-5B84-13D9-F8ADEBD2FCB5}"/>
              </a:ext>
            </a:extLst>
          </p:cNvPr>
          <p:cNvSpPr>
            <a:spLocks noGrp="1"/>
          </p:cNvSpPr>
          <p:nvPr>
            <p:ph type="title" hasCustomPrompt="1"/>
          </p:nvPr>
        </p:nvSpPr>
        <p:spPr>
          <a:xfrm>
            <a:off x="568001" y="1391815"/>
            <a:ext cx="4419844" cy="1190500"/>
          </a:xfrm>
        </p:spPr>
        <p:txBody>
          <a:bodyPr anchor="b" anchorCtr="0"/>
          <a:lstStyle>
            <a:lvl1pPr>
              <a:defRPr sz="3417">
                <a:solidFill>
                  <a:schemeClr val="bg1"/>
                </a:solidFill>
              </a:defRPr>
            </a:lvl1pPr>
          </a:lstStyle>
          <a:p>
            <a:r>
              <a:rPr lang="en-US" dirty="0"/>
              <a:t>Section Header</a:t>
            </a:r>
            <a:endParaRPr lang="en-GB" dirty="0"/>
          </a:p>
        </p:txBody>
      </p:sp>
      <p:sp>
        <p:nvSpPr>
          <p:cNvPr id="7" name="Subtitle 2">
            <a:extLst>
              <a:ext uri="{FF2B5EF4-FFF2-40B4-BE49-F238E27FC236}">
                <a16:creationId xmlns:a16="http://schemas.microsoft.com/office/drawing/2014/main" id="{A3082BF0-ED0B-5BEB-3CD5-ED3CAB19DA90}"/>
              </a:ext>
            </a:extLst>
          </p:cNvPr>
          <p:cNvSpPr>
            <a:spLocks noGrp="1"/>
          </p:cNvSpPr>
          <p:nvPr>
            <p:ph type="subTitle" idx="1" hasCustomPrompt="1"/>
          </p:nvPr>
        </p:nvSpPr>
        <p:spPr>
          <a:xfrm>
            <a:off x="564738" y="2675708"/>
            <a:ext cx="4419844" cy="1587333"/>
          </a:xfrm>
        </p:spPr>
        <p:txBody>
          <a:bodyPr/>
          <a:lstStyle>
            <a:lvl1pPr marL="0" indent="0" algn="l">
              <a:buNone/>
              <a:defRPr sz="2535" b="0">
                <a:solidFill>
                  <a:schemeClr val="bg1"/>
                </a:solidFill>
              </a:defRPr>
            </a:lvl1pPr>
            <a:lvl2pPr marL="0" indent="0" algn="l">
              <a:buNone/>
              <a:defRPr sz="2535" b="0">
                <a:solidFill>
                  <a:schemeClr val="accent3"/>
                </a:solidFill>
              </a:defRPr>
            </a:lvl2pPr>
            <a:lvl3pPr marL="0" indent="0" algn="l">
              <a:buNone/>
              <a:defRPr sz="2535" b="0">
                <a:solidFill>
                  <a:schemeClr val="bg1"/>
                </a:solidFill>
              </a:defRPr>
            </a:lvl3pPr>
            <a:lvl4pPr marL="0" indent="0" algn="l">
              <a:buNone/>
              <a:defRPr sz="2535" b="0">
                <a:solidFill>
                  <a:schemeClr val="bg1"/>
                </a:solidFill>
              </a:defRPr>
            </a:lvl4pPr>
            <a:lvl5pPr marL="0" indent="0" algn="l">
              <a:buNone/>
              <a:defRPr sz="2535" b="0">
                <a:solidFill>
                  <a:schemeClr val="bg1"/>
                </a:solidFill>
              </a:defRPr>
            </a:lvl5pPr>
            <a:lvl6pPr marL="0" indent="0" algn="l">
              <a:buNone/>
              <a:defRPr sz="2535" b="0">
                <a:solidFill>
                  <a:schemeClr val="bg1"/>
                </a:solidFill>
              </a:defRPr>
            </a:lvl6pPr>
            <a:lvl7pPr marL="0" indent="0" algn="l">
              <a:buNone/>
              <a:defRPr sz="2535" b="0">
                <a:solidFill>
                  <a:schemeClr val="bg1"/>
                </a:solidFill>
              </a:defRPr>
            </a:lvl7pPr>
            <a:lvl8pPr marL="0" indent="0" algn="l">
              <a:buNone/>
              <a:defRPr sz="2535" b="0">
                <a:solidFill>
                  <a:schemeClr val="bg1"/>
                </a:solidFill>
              </a:defRPr>
            </a:lvl8pPr>
            <a:lvl9pPr marL="0" indent="0" algn="l">
              <a:buNone/>
              <a:defRPr sz="2535" b="0">
                <a:solidFill>
                  <a:schemeClr val="bg1"/>
                </a:solidFill>
              </a:defRPr>
            </a:lvl9pPr>
          </a:lstStyle>
          <a:p>
            <a:r>
              <a:rPr lang="en-US" dirty="0"/>
              <a:t>Click to add subheading</a:t>
            </a:r>
            <a:endParaRPr lang="en-GB" dirty="0"/>
          </a:p>
        </p:txBody>
      </p:sp>
      <p:sp>
        <p:nvSpPr>
          <p:cNvPr id="4" name="Slide Number Placeholder 5">
            <a:extLst>
              <a:ext uri="{FF2B5EF4-FFF2-40B4-BE49-F238E27FC236}">
                <a16:creationId xmlns:a16="http://schemas.microsoft.com/office/drawing/2014/main" id="{AAEE8CEF-2A9A-A284-2ECE-73C5016C2E10}"/>
              </a:ext>
            </a:extLst>
          </p:cNvPr>
          <p:cNvSpPr>
            <a:spLocks noGrp="1"/>
          </p:cNvSpPr>
          <p:nvPr>
            <p:ph type="sldNum" sz="quarter" idx="4"/>
          </p:nvPr>
        </p:nvSpPr>
        <p:spPr>
          <a:xfrm>
            <a:off x="9750219" y="7004053"/>
            <a:ext cx="631406" cy="396833"/>
          </a:xfrm>
          <a:prstGeom prst="rect">
            <a:avLst/>
          </a:prstGeom>
        </p:spPr>
        <p:txBody>
          <a:bodyPr vert="horz" lIns="0" tIns="0" rIns="0" bIns="0" rtlCol="0" anchor="ctr"/>
          <a:lstStyle>
            <a:lvl1pPr algn="l">
              <a:defRPr sz="1102">
                <a:solidFill>
                  <a:schemeClr val="accent6"/>
                </a:solidFill>
              </a:defRPr>
            </a:lvl1pPr>
          </a:lstStyle>
          <a:p>
            <a:r>
              <a:rPr lang="en-GB" dirty="0"/>
              <a:t>Page </a:t>
            </a:r>
            <a:fld id="{F5AEA0E0-5CC6-4BD0-905C-A0021E419432}" type="slidenum">
              <a:rPr lang="en-GB" smtClean="0"/>
              <a:pPr/>
              <a:t>‹#›</a:t>
            </a:fld>
            <a:endParaRPr lang="en-GB" dirty="0"/>
          </a:p>
        </p:txBody>
      </p:sp>
      <p:cxnSp>
        <p:nvCxnSpPr>
          <p:cNvPr id="5" name="Straight Connector 4">
            <a:extLst>
              <a:ext uri="{FF2B5EF4-FFF2-40B4-BE49-F238E27FC236}">
                <a16:creationId xmlns:a16="http://schemas.microsoft.com/office/drawing/2014/main" id="{0A814517-E33B-AFFF-52E3-DE0C61785E9A}"/>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7335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775179C6-69B1-0B86-138C-7F7820A4F219}"/>
              </a:ext>
            </a:extLst>
          </p:cNvPr>
          <p:cNvSpPr/>
          <p:nvPr userDrawn="1"/>
        </p:nvSpPr>
        <p:spPr>
          <a:xfrm>
            <a:off x="0" y="693805"/>
            <a:ext cx="10688550" cy="616337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chemeClr val="tx2"/>
          </a:solidFill>
          <a:ln w="6350" cap="flat">
            <a:noFill/>
            <a:prstDash val="solid"/>
            <a:miter/>
          </a:ln>
        </p:spPr>
        <p:txBody>
          <a:bodyPr rtlCol="0" anchor="ctr"/>
          <a:lstStyle/>
          <a:p>
            <a:pPr lvl="0"/>
            <a:endParaRPr lang="en-AU" sz="2263"/>
          </a:p>
        </p:txBody>
      </p:sp>
      <p:sp>
        <p:nvSpPr>
          <p:cNvPr id="44" name="Free-form: Shape 43">
            <a:extLst>
              <a:ext uri="{FF2B5EF4-FFF2-40B4-BE49-F238E27FC236}">
                <a16:creationId xmlns:a16="http://schemas.microsoft.com/office/drawing/2014/main" id="{DE084157-4075-0FD5-6E63-97A51B858EB1}"/>
              </a:ext>
            </a:extLst>
          </p:cNvPr>
          <p:cNvSpPr/>
          <p:nvPr userDrawn="1"/>
        </p:nvSpPr>
        <p:spPr>
          <a:xfrm>
            <a:off x="3941422" y="693805"/>
            <a:ext cx="6746979" cy="6164075"/>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1984"/>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568002" y="7004053"/>
            <a:ext cx="5240004" cy="396833"/>
          </a:xfrm>
          <a:prstGeom prst="rect">
            <a:avLst/>
          </a:prstGeom>
        </p:spPr>
        <p:txBody>
          <a:bodyPr vert="horz" lIns="0" tIns="0" rIns="0" bIns="0" rtlCol="0" anchor="ctr"/>
          <a:lstStyle>
            <a:lvl1pPr algn="l">
              <a:defRPr sz="1102">
                <a:solidFill>
                  <a:schemeClr val="accent6"/>
                </a:solidFill>
              </a:defRPr>
            </a:lvl1pPr>
          </a:lstStyle>
          <a:p>
            <a:r>
              <a:rPr lang="en-GB"/>
              <a:t>To add a Footer, select 'Insert &gt; Header &amp; Footer'</a:t>
            </a:r>
            <a:endParaRPr lang="en-GB" dirty="0"/>
          </a:p>
        </p:txBody>
      </p:sp>
      <p:sp>
        <p:nvSpPr>
          <p:cNvPr id="35" name="Free-form: Shape 34">
            <a:extLst>
              <a:ext uri="{FF2B5EF4-FFF2-40B4-BE49-F238E27FC236}">
                <a16:creationId xmlns:a16="http://schemas.microsoft.com/office/drawing/2014/main" id="{E716590E-9291-B2F9-3AA6-85CA4C91DBB9}"/>
              </a:ext>
            </a:extLst>
          </p:cNvPr>
          <p:cNvSpPr/>
          <p:nvPr userDrawn="1"/>
        </p:nvSpPr>
        <p:spPr>
          <a:xfrm>
            <a:off x="7547384" y="6857740"/>
            <a:ext cx="1545412" cy="697870"/>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tx2"/>
          </a:solidFill>
          <a:ln w="6350" cap="flat">
            <a:noFill/>
            <a:prstDash val="solid"/>
            <a:miter/>
          </a:ln>
        </p:spPr>
        <p:txBody>
          <a:bodyPr rtlCol="0" anchor="ctr"/>
          <a:lstStyle/>
          <a:p>
            <a:pPr lvl="0"/>
            <a:endParaRPr lang="en-AU" sz="2263"/>
          </a:p>
        </p:txBody>
      </p:sp>
      <p:sp>
        <p:nvSpPr>
          <p:cNvPr id="36" name="Free-form: Shape 35">
            <a:extLst>
              <a:ext uri="{FF2B5EF4-FFF2-40B4-BE49-F238E27FC236}">
                <a16:creationId xmlns:a16="http://schemas.microsoft.com/office/drawing/2014/main" id="{4D003B98-C3EA-C7FE-AD96-45DA60D8E705}"/>
              </a:ext>
            </a:extLst>
          </p:cNvPr>
          <p:cNvSpPr/>
          <p:nvPr userDrawn="1"/>
        </p:nvSpPr>
        <p:spPr>
          <a:xfrm>
            <a:off x="7033137" y="-4064"/>
            <a:ext cx="1384738" cy="697869"/>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2263"/>
          </a:p>
        </p:txBody>
      </p:sp>
      <p:sp>
        <p:nvSpPr>
          <p:cNvPr id="37" name="Free-form: Shape 36">
            <a:extLst>
              <a:ext uri="{FF2B5EF4-FFF2-40B4-BE49-F238E27FC236}">
                <a16:creationId xmlns:a16="http://schemas.microsoft.com/office/drawing/2014/main" id="{D57C1E03-A62F-F5AC-8A66-6F45EDC22105}"/>
              </a:ext>
            </a:extLst>
          </p:cNvPr>
          <p:cNvSpPr/>
          <p:nvPr userDrawn="1"/>
        </p:nvSpPr>
        <p:spPr>
          <a:xfrm>
            <a:off x="7550800" y="693805"/>
            <a:ext cx="517810" cy="1032315"/>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2263"/>
          </a:p>
        </p:txBody>
      </p:sp>
      <p:sp>
        <p:nvSpPr>
          <p:cNvPr id="41" name="Subtitle 2">
            <a:extLst>
              <a:ext uri="{FF2B5EF4-FFF2-40B4-BE49-F238E27FC236}">
                <a16:creationId xmlns:a16="http://schemas.microsoft.com/office/drawing/2014/main" id="{CAB36581-B79B-989F-D79E-A149C37E4972}"/>
              </a:ext>
            </a:extLst>
          </p:cNvPr>
          <p:cNvSpPr>
            <a:spLocks noGrp="1"/>
          </p:cNvSpPr>
          <p:nvPr>
            <p:ph type="subTitle" idx="1" hasCustomPrompt="1"/>
          </p:nvPr>
        </p:nvSpPr>
        <p:spPr>
          <a:xfrm>
            <a:off x="564738" y="2675708"/>
            <a:ext cx="4419844" cy="1587333"/>
          </a:xfrm>
        </p:spPr>
        <p:txBody>
          <a:bodyPr/>
          <a:lstStyle>
            <a:lvl1pPr marL="0" indent="0" algn="l">
              <a:buNone/>
              <a:defRPr sz="2535" b="0">
                <a:solidFill>
                  <a:schemeClr val="bg1"/>
                </a:solidFill>
              </a:defRPr>
            </a:lvl1pPr>
            <a:lvl2pPr marL="0" indent="0" algn="l">
              <a:buNone/>
              <a:defRPr sz="2535" b="0">
                <a:solidFill>
                  <a:schemeClr val="accent3"/>
                </a:solidFill>
              </a:defRPr>
            </a:lvl2pPr>
            <a:lvl3pPr marL="0" indent="0" algn="l">
              <a:buNone/>
              <a:defRPr sz="2535" b="0">
                <a:solidFill>
                  <a:schemeClr val="bg1"/>
                </a:solidFill>
              </a:defRPr>
            </a:lvl3pPr>
            <a:lvl4pPr marL="0" indent="0" algn="l">
              <a:buNone/>
              <a:defRPr sz="2535" b="0">
                <a:solidFill>
                  <a:schemeClr val="bg1"/>
                </a:solidFill>
              </a:defRPr>
            </a:lvl4pPr>
            <a:lvl5pPr marL="0" indent="0" algn="l">
              <a:buNone/>
              <a:defRPr sz="2535" b="0">
                <a:solidFill>
                  <a:schemeClr val="bg1"/>
                </a:solidFill>
              </a:defRPr>
            </a:lvl5pPr>
            <a:lvl6pPr marL="0" indent="0" algn="l">
              <a:buNone/>
              <a:defRPr sz="2535" b="0">
                <a:solidFill>
                  <a:schemeClr val="bg1"/>
                </a:solidFill>
              </a:defRPr>
            </a:lvl6pPr>
            <a:lvl7pPr marL="0" indent="0" algn="l">
              <a:buNone/>
              <a:defRPr sz="2535" b="0">
                <a:solidFill>
                  <a:schemeClr val="bg1"/>
                </a:solidFill>
              </a:defRPr>
            </a:lvl7pPr>
            <a:lvl8pPr marL="0" indent="0" algn="l">
              <a:buNone/>
              <a:defRPr sz="2535" b="0">
                <a:solidFill>
                  <a:schemeClr val="bg1"/>
                </a:solidFill>
              </a:defRPr>
            </a:lvl8pPr>
            <a:lvl9pPr marL="0" indent="0" algn="l">
              <a:buNone/>
              <a:defRPr sz="2535" b="0">
                <a:solidFill>
                  <a:schemeClr val="bg1"/>
                </a:solidFill>
              </a:defRPr>
            </a:lvl9pPr>
          </a:lstStyle>
          <a:p>
            <a:r>
              <a:rPr lang="en-US" dirty="0"/>
              <a:t>Click to add subheading</a:t>
            </a:r>
            <a:endParaRPr lang="en-GB" dirty="0"/>
          </a:p>
        </p:txBody>
      </p:sp>
      <p:sp>
        <p:nvSpPr>
          <p:cNvPr id="42" name="Title 10">
            <a:extLst>
              <a:ext uri="{FF2B5EF4-FFF2-40B4-BE49-F238E27FC236}">
                <a16:creationId xmlns:a16="http://schemas.microsoft.com/office/drawing/2014/main" id="{2A95F71B-5627-FFA8-5C56-3B3CD5D05787}"/>
              </a:ext>
            </a:extLst>
          </p:cNvPr>
          <p:cNvSpPr>
            <a:spLocks noGrp="1"/>
          </p:cNvSpPr>
          <p:nvPr>
            <p:ph type="title" hasCustomPrompt="1"/>
          </p:nvPr>
        </p:nvSpPr>
        <p:spPr>
          <a:xfrm>
            <a:off x="568001" y="1391815"/>
            <a:ext cx="4419844" cy="1190500"/>
          </a:xfrm>
        </p:spPr>
        <p:txBody>
          <a:bodyPr anchor="b" anchorCtr="0"/>
          <a:lstStyle>
            <a:lvl1pPr>
              <a:defRPr sz="3417">
                <a:solidFill>
                  <a:schemeClr val="bg1"/>
                </a:solidFill>
              </a:defRPr>
            </a:lvl1pPr>
          </a:lstStyle>
          <a:p>
            <a:r>
              <a:rPr lang="en-US" dirty="0"/>
              <a:t>Section Header</a:t>
            </a:r>
            <a:endParaRPr lang="en-GB" dirty="0"/>
          </a:p>
        </p:txBody>
      </p:sp>
      <p:sp>
        <p:nvSpPr>
          <p:cNvPr id="57" name="Free-form: Shape 56">
            <a:extLst>
              <a:ext uri="{FF2B5EF4-FFF2-40B4-BE49-F238E27FC236}">
                <a16:creationId xmlns:a16="http://schemas.microsoft.com/office/drawing/2014/main" id="{01DA6775-E0B6-7D84-E7B3-F5EA83C07776}"/>
              </a:ext>
            </a:extLst>
          </p:cNvPr>
          <p:cNvSpPr/>
          <p:nvPr userDrawn="1"/>
        </p:nvSpPr>
        <p:spPr>
          <a:xfrm>
            <a:off x="6515327" y="693803"/>
            <a:ext cx="1553431" cy="1032317"/>
          </a:xfrm>
          <a:custGeom>
            <a:avLst/>
            <a:gdLst>
              <a:gd name="connsiteX0" fmla="*/ 885762 w 1328547"/>
              <a:gd name="connsiteY0" fmla="*/ 936365 h 936499"/>
              <a:gd name="connsiteX1" fmla="*/ 885825 w 1328547"/>
              <a:gd name="connsiteY1" fmla="*/ 936499 h 936499"/>
              <a:gd name="connsiteX2" fmla="*/ 885698 w 1328547"/>
              <a:gd name="connsiteY2" fmla="*/ 936499 h 936499"/>
              <a:gd name="connsiteX3" fmla="*/ 442786 w 1328547"/>
              <a:gd name="connsiteY3" fmla="*/ 134 h 936499"/>
              <a:gd name="connsiteX4" fmla="*/ 447696 w 1328547"/>
              <a:gd name="connsiteY4" fmla="*/ 10517 h 936499"/>
              <a:gd name="connsiteX5" fmla="*/ 885571 w 1328547"/>
              <a:gd name="connsiteY5" fmla="*/ 936498 h 936499"/>
              <a:gd name="connsiteX6" fmla="*/ 0 w 1328547"/>
              <a:gd name="connsiteY6" fmla="*/ 936498 h 936499"/>
              <a:gd name="connsiteX7" fmla="*/ 442976 w 1328547"/>
              <a:gd name="connsiteY7" fmla="*/ 1 h 936499"/>
              <a:gd name="connsiteX8" fmla="*/ 1328547 w 1328547"/>
              <a:gd name="connsiteY8" fmla="*/ 1 h 936499"/>
              <a:gd name="connsiteX9" fmla="*/ 885762 w 1328547"/>
              <a:gd name="connsiteY9" fmla="*/ 936365 h 936499"/>
              <a:gd name="connsiteX10" fmla="*/ 880852 w 1328547"/>
              <a:gd name="connsiteY10" fmla="*/ 925982 h 936499"/>
              <a:gd name="connsiteX11" fmla="*/ 442976 w 1328547"/>
              <a:gd name="connsiteY11" fmla="*/ 1 h 936499"/>
              <a:gd name="connsiteX12" fmla="*/ 442722 w 1328547"/>
              <a:gd name="connsiteY12" fmla="*/ 0 h 936499"/>
              <a:gd name="connsiteX13" fmla="*/ 442849 w 1328547"/>
              <a:gd name="connsiteY13" fmla="*/ 0 h 936499"/>
              <a:gd name="connsiteX14" fmla="*/ 442786 w 1328547"/>
              <a:gd name="connsiteY14" fmla="*/ 134 h 93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8547" h="936499">
                <a:moveTo>
                  <a:pt x="885762" y="936365"/>
                </a:moveTo>
                <a:lnTo>
                  <a:pt x="885825" y="936499"/>
                </a:lnTo>
                <a:lnTo>
                  <a:pt x="885698" y="936499"/>
                </a:lnTo>
                <a:close/>
                <a:moveTo>
                  <a:pt x="442786" y="134"/>
                </a:moveTo>
                <a:lnTo>
                  <a:pt x="447696" y="10517"/>
                </a:lnTo>
                <a:cubicBezTo>
                  <a:pt x="496349" y="113404"/>
                  <a:pt x="885571" y="936498"/>
                  <a:pt x="885571" y="936498"/>
                </a:cubicBezTo>
                <a:lnTo>
                  <a:pt x="0" y="936498"/>
                </a:lnTo>
                <a:close/>
                <a:moveTo>
                  <a:pt x="442976" y="1"/>
                </a:moveTo>
                <a:lnTo>
                  <a:pt x="1328547" y="1"/>
                </a:lnTo>
                <a:lnTo>
                  <a:pt x="885762" y="936365"/>
                </a:lnTo>
                <a:lnTo>
                  <a:pt x="880852" y="925982"/>
                </a:lnTo>
                <a:cubicBezTo>
                  <a:pt x="832199" y="823095"/>
                  <a:pt x="442976" y="1"/>
                  <a:pt x="442976" y="1"/>
                </a:cubicBezTo>
                <a:close/>
                <a:moveTo>
                  <a:pt x="442722" y="0"/>
                </a:moveTo>
                <a:lnTo>
                  <a:pt x="442849" y="0"/>
                </a:lnTo>
                <a:lnTo>
                  <a:pt x="442786" y="134"/>
                </a:lnTo>
                <a:close/>
              </a:path>
            </a:pathLst>
          </a:custGeom>
          <a:solidFill>
            <a:schemeClr val="accent1">
              <a:alpha val="66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58" name="Free-form: Shape 57">
            <a:extLst>
              <a:ext uri="{FF2B5EF4-FFF2-40B4-BE49-F238E27FC236}">
                <a16:creationId xmlns:a16="http://schemas.microsoft.com/office/drawing/2014/main" id="{358FAFA3-856C-CF17-8001-FFF4AC2A7BB5}"/>
              </a:ext>
            </a:extLst>
          </p:cNvPr>
          <p:cNvSpPr/>
          <p:nvPr userDrawn="1"/>
        </p:nvSpPr>
        <p:spPr>
          <a:xfrm>
            <a:off x="5997663" y="693803"/>
            <a:ext cx="1553283" cy="1032316"/>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61" name="Free-form: Shape 60">
            <a:extLst>
              <a:ext uri="{FF2B5EF4-FFF2-40B4-BE49-F238E27FC236}">
                <a16:creationId xmlns:a16="http://schemas.microsoft.com/office/drawing/2014/main" id="{DF617F1A-5E2A-826F-24C7-FBF92E02D629}"/>
              </a:ext>
            </a:extLst>
          </p:cNvPr>
          <p:cNvSpPr/>
          <p:nvPr userDrawn="1"/>
        </p:nvSpPr>
        <p:spPr>
          <a:xfrm>
            <a:off x="7897835" y="5666672"/>
            <a:ext cx="1794443" cy="1193869"/>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tx2">
              <a:alpha val="50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62" name="Free-form: Shape 61">
            <a:extLst>
              <a:ext uri="{FF2B5EF4-FFF2-40B4-BE49-F238E27FC236}">
                <a16:creationId xmlns:a16="http://schemas.microsoft.com/office/drawing/2014/main" id="{FF92AA7A-2C80-1E59-C936-ABFC69615300}"/>
              </a:ext>
            </a:extLst>
          </p:cNvPr>
          <p:cNvSpPr/>
          <p:nvPr userDrawn="1"/>
        </p:nvSpPr>
        <p:spPr>
          <a:xfrm>
            <a:off x="8498807" y="5666672"/>
            <a:ext cx="1787315" cy="1191209"/>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4" name="Slide Number Placeholder 5">
            <a:extLst>
              <a:ext uri="{FF2B5EF4-FFF2-40B4-BE49-F238E27FC236}">
                <a16:creationId xmlns:a16="http://schemas.microsoft.com/office/drawing/2014/main" id="{DD344425-4162-E229-2E19-2924591FFEC4}"/>
              </a:ext>
            </a:extLst>
          </p:cNvPr>
          <p:cNvSpPr>
            <a:spLocks noGrp="1"/>
          </p:cNvSpPr>
          <p:nvPr>
            <p:ph type="sldNum" sz="quarter" idx="4"/>
          </p:nvPr>
        </p:nvSpPr>
        <p:spPr>
          <a:xfrm>
            <a:off x="9750219" y="7004053"/>
            <a:ext cx="631406" cy="396833"/>
          </a:xfrm>
          <a:prstGeom prst="rect">
            <a:avLst/>
          </a:prstGeom>
        </p:spPr>
        <p:txBody>
          <a:bodyPr vert="horz" lIns="0" tIns="0" rIns="0" bIns="0" rtlCol="0" anchor="ctr"/>
          <a:lstStyle>
            <a:lvl1pPr algn="l">
              <a:defRPr sz="1102">
                <a:solidFill>
                  <a:schemeClr val="accent6"/>
                </a:solidFill>
              </a:defRPr>
            </a:lvl1pPr>
          </a:lstStyle>
          <a:p>
            <a:r>
              <a:rPr lang="en-GB" dirty="0"/>
              <a:t>Page </a:t>
            </a:r>
            <a:fld id="{F5AEA0E0-5CC6-4BD0-905C-A0021E419432}" type="slidenum">
              <a:rPr lang="en-GB" smtClean="0"/>
              <a:pPr/>
              <a:t>‹#›</a:t>
            </a:fld>
            <a:endParaRPr lang="en-GB" dirty="0"/>
          </a:p>
        </p:txBody>
      </p:sp>
      <p:cxnSp>
        <p:nvCxnSpPr>
          <p:cNvPr id="5" name="Straight Connector 4">
            <a:extLst>
              <a:ext uri="{FF2B5EF4-FFF2-40B4-BE49-F238E27FC236}">
                <a16:creationId xmlns:a16="http://schemas.microsoft.com/office/drawing/2014/main" id="{77E5F0D0-1852-1373-EF05-D7B4A6041F22}"/>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98554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775179C6-69B1-0B86-138C-7F7820A4F219}"/>
              </a:ext>
            </a:extLst>
          </p:cNvPr>
          <p:cNvSpPr/>
          <p:nvPr userDrawn="1"/>
        </p:nvSpPr>
        <p:spPr>
          <a:xfrm>
            <a:off x="0" y="693805"/>
            <a:ext cx="10688550" cy="616337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chemeClr val="accent6"/>
          </a:solidFill>
          <a:ln w="6350" cap="flat">
            <a:noFill/>
            <a:prstDash val="solid"/>
            <a:miter/>
          </a:ln>
        </p:spPr>
        <p:txBody>
          <a:bodyPr rtlCol="0" anchor="ctr"/>
          <a:lstStyle/>
          <a:p>
            <a:pPr lvl="0"/>
            <a:endParaRPr lang="en-AU" sz="2263"/>
          </a:p>
        </p:txBody>
      </p:sp>
      <p:sp>
        <p:nvSpPr>
          <p:cNvPr id="44" name="Free-form: Shape 43">
            <a:extLst>
              <a:ext uri="{FF2B5EF4-FFF2-40B4-BE49-F238E27FC236}">
                <a16:creationId xmlns:a16="http://schemas.microsoft.com/office/drawing/2014/main" id="{DE084157-4075-0FD5-6E63-97A51B858EB1}"/>
              </a:ext>
            </a:extLst>
          </p:cNvPr>
          <p:cNvSpPr/>
          <p:nvPr userDrawn="1"/>
        </p:nvSpPr>
        <p:spPr>
          <a:xfrm>
            <a:off x="3941422" y="693805"/>
            <a:ext cx="6746979" cy="6164075"/>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1984"/>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568002" y="7004053"/>
            <a:ext cx="5240004" cy="396833"/>
          </a:xfrm>
          <a:prstGeom prst="rect">
            <a:avLst/>
          </a:prstGeom>
        </p:spPr>
        <p:txBody>
          <a:bodyPr vert="horz" lIns="0" tIns="0" rIns="0" bIns="0" rtlCol="0" anchor="ctr"/>
          <a:lstStyle>
            <a:lvl1pPr algn="l">
              <a:defRPr sz="1102">
                <a:solidFill>
                  <a:schemeClr val="accent6"/>
                </a:solidFill>
              </a:defRPr>
            </a:lvl1pPr>
          </a:lstStyle>
          <a:p>
            <a:r>
              <a:rPr lang="en-GB"/>
              <a:t>To add a Footer, select 'Insert &gt; Header &amp; Footer'</a:t>
            </a:r>
            <a:endParaRPr lang="en-GB" dirty="0"/>
          </a:p>
        </p:txBody>
      </p:sp>
      <p:sp>
        <p:nvSpPr>
          <p:cNvPr id="35" name="Free-form: Shape 34">
            <a:extLst>
              <a:ext uri="{FF2B5EF4-FFF2-40B4-BE49-F238E27FC236}">
                <a16:creationId xmlns:a16="http://schemas.microsoft.com/office/drawing/2014/main" id="{E716590E-9291-B2F9-3AA6-85CA4C91DBB9}"/>
              </a:ext>
            </a:extLst>
          </p:cNvPr>
          <p:cNvSpPr/>
          <p:nvPr userDrawn="1"/>
        </p:nvSpPr>
        <p:spPr>
          <a:xfrm>
            <a:off x="7547384" y="6857740"/>
            <a:ext cx="1545412" cy="697870"/>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accent6"/>
          </a:solidFill>
          <a:ln w="6350" cap="flat">
            <a:noFill/>
            <a:prstDash val="solid"/>
            <a:miter/>
          </a:ln>
        </p:spPr>
        <p:txBody>
          <a:bodyPr rtlCol="0" anchor="ctr"/>
          <a:lstStyle/>
          <a:p>
            <a:pPr lvl="0"/>
            <a:endParaRPr lang="en-AU" sz="2263"/>
          </a:p>
        </p:txBody>
      </p:sp>
      <p:sp>
        <p:nvSpPr>
          <p:cNvPr id="36" name="Free-form: Shape 35">
            <a:extLst>
              <a:ext uri="{FF2B5EF4-FFF2-40B4-BE49-F238E27FC236}">
                <a16:creationId xmlns:a16="http://schemas.microsoft.com/office/drawing/2014/main" id="{4D003B98-C3EA-C7FE-AD96-45DA60D8E705}"/>
              </a:ext>
            </a:extLst>
          </p:cNvPr>
          <p:cNvSpPr/>
          <p:nvPr userDrawn="1"/>
        </p:nvSpPr>
        <p:spPr>
          <a:xfrm>
            <a:off x="7033137" y="-4064"/>
            <a:ext cx="1384738" cy="697869"/>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2263"/>
          </a:p>
        </p:txBody>
      </p:sp>
      <p:sp>
        <p:nvSpPr>
          <p:cNvPr id="37" name="Free-form: Shape 36">
            <a:extLst>
              <a:ext uri="{FF2B5EF4-FFF2-40B4-BE49-F238E27FC236}">
                <a16:creationId xmlns:a16="http://schemas.microsoft.com/office/drawing/2014/main" id="{D57C1E03-A62F-F5AC-8A66-6F45EDC22105}"/>
              </a:ext>
            </a:extLst>
          </p:cNvPr>
          <p:cNvSpPr/>
          <p:nvPr userDrawn="1"/>
        </p:nvSpPr>
        <p:spPr>
          <a:xfrm>
            <a:off x="7550800" y="693805"/>
            <a:ext cx="517810" cy="1032315"/>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2263"/>
          </a:p>
        </p:txBody>
      </p:sp>
      <p:sp>
        <p:nvSpPr>
          <p:cNvPr id="41" name="Subtitle 2">
            <a:extLst>
              <a:ext uri="{FF2B5EF4-FFF2-40B4-BE49-F238E27FC236}">
                <a16:creationId xmlns:a16="http://schemas.microsoft.com/office/drawing/2014/main" id="{CAB36581-B79B-989F-D79E-A149C37E4972}"/>
              </a:ext>
            </a:extLst>
          </p:cNvPr>
          <p:cNvSpPr>
            <a:spLocks noGrp="1"/>
          </p:cNvSpPr>
          <p:nvPr>
            <p:ph type="subTitle" idx="1" hasCustomPrompt="1"/>
          </p:nvPr>
        </p:nvSpPr>
        <p:spPr>
          <a:xfrm>
            <a:off x="564738" y="2675708"/>
            <a:ext cx="4419844" cy="1587333"/>
          </a:xfrm>
        </p:spPr>
        <p:txBody>
          <a:bodyPr/>
          <a:lstStyle>
            <a:lvl1pPr marL="0" indent="0" algn="l">
              <a:buNone/>
              <a:defRPr sz="2535" b="0">
                <a:solidFill>
                  <a:schemeClr val="bg1"/>
                </a:solidFill>
              </a:defRPr>
            </a:lvl1pPr>
            <a:lvl2pPr marL="0" indent="0" algn="l">
              <a:buNone/>
              <a:defRPr sz="2535" b="0">
                <a:solidFill>
                  <a:schemeClr val="accent3"/>
                </a:solidFill>
              </a:defRPr>
            </a:lvl2pPr>
            <a:lvl3pPr marL="0" indent="0" algn="l">
              <a:buNone/>
              <a:defRPr sz="2535" b="0">
                <a:solidFill>
                  <a:schemeClr val="bg1"/>
                </a:solidFill>
              </a:defRPr>
            </a:lvl3pPr>
            <a:lvl4pPr marL="0" indent="0" algn="l">
              <a:buNone/>
              <a:defRPr sz="2535" b="0">
                <a:solidFill>
                  <a:schemeClr val="bg1"/>
                </a:solidFill>
              </a:defRPr>
            </a:lvl4pPr>
            <a:lvl5pPr marL="0" indent="0" algn="l">
              <a:buNone/>
              <a:defRPr sz="2535" b="0">
                <a:solidFill>
                  <a:schemeClr val="bg1"/>
                </a:solidFill>
              </a:defRPr>
            </a:lvl5pPr>
            <a:lvl6pPr marL="0" indent="0" algn="l">
              <a:buNone/>
              <a:defRPr sz="2535" b="0">
                <a:solidFill>
                  <a:schemeClr val="bg1"/>
                </a:solidFill>
              </a:defRPr>
            </a:lvl6pPr>
            <a:lvl7pPr marL="0" indent="0" algn="l">
              <a:buNone/>
              <a:defRPr sz="2535" b="0">
                <a:solidFill>
                  <a:schemeClr val="bg1"/>
                </a:solidFill>
              </a:defRPr>
            </a:lvl7pPr>
            <a:lvl8pPr marL="0" indent="0" algn="l">
              <a:buNone/>
              <a:defRPr sz="2535" b="0">
                <a:solidFill>
                  <a:schemeClr val="bg1"/>
                </a:solidFill>
              </a:defRPr>
            </a:lvl8pPr>
            <a:lvl9pPr marL="0" indent="0" algn="l">
              <a:buNone/>
              <a:defRPr sz="2535" b="0">
                <a:solidFill>
                  <a:schemeClr val="bg1"/>
                </a:solidFill>
              </a:defRPr>
            </a:lvl9pPr>
          </a:lstStyle>
          <a:p>
            <a:r>
              <a:rPr lang="en-US" dirty="0"/>
              <a:t>Click to add subheading</a:t>
            </a:r>
            <a:endParaRPr lang="en-GB" dirty="0"/>
          </a:p>
        </p:txBody>
      </p:sp>
      <p:sp>
        <p:nvSpPr>
          <p:cNvPr id="42" name="Title 10">
            <a:extLst>
              <a:ext uri="{FF2B5EF4-FFF2-40B4-BE49-F238E27FC236}">
                <a16:creationId xmlns:a16="http://schemas.microsoft.com/office/drawing/2014/main" id="{2A95F71B-5627-FFA8-5C56-3B3CD5D05787}"/>
              </a:ext>
            </a:extLst>
          </p:cNvPr>
          <p:cNvSpPr>
            <a:spLocks noGrp="1"/>
          </p:cNvSpPr>
          <p:nvPr>
            <p:ph type="title" hasCustomPrompt="1"/>
          </p:nvPr>
        </p:nvSpPr>
        <p:spPr>
          <a:xfrm>
            <a:off x="568001" y="1391815"/>
            <a:ext cx="4419844" cy="1190500"/>
          </a:xfrm>
        </p:spPr>
        <p:txBody>
          <a:bodyPr anchor="b" anchorCtr="0"/>
          <a:lstStyle>
            <a:lvl1pPr>
              <a:defRPr sz="3417">
                <a:solidFill>
                  <a:schemeClr val="bg1"/>
                </a:solidFill>
              </a:defRPr>
            </a:lvl1pPr>
          </a:lstStyle>
          <a:p>
            <a:r>
              <a:rPr lang="en-US" dirty="0"/>
              <a:t>Section Header</a:t>
            </a:r>
            <a:endParaRPr lang="en-GB" dirty="0"/>
          </a:p>
        </p:txBody>
      </p:sp>
      <p:sp>
        <p:nvSpPr>
          <p:cNvPr id="57" name="Free-form: Shape 56">
            <a:extLst>
              <a:ext uri="{FF2B5EF4-FFF2-40B4-BE49-F238E27FC236}">
                <a16:creationId xmlns:a16="http://schemas.microsoft.com/office/drawing/2014/main" id="{01DA6775-E0B6-7D84-E7B3-F5EA83C07776}"/>
              </a:ext>
            </a:extLst>
          </p:cNvPr>
          <p:cNvSpPr/>
          <p:nvPr userDrawn="1"/>
        </p:nvSpPr>
        <p:spPr>
          <a:xfrm>
            <a:off x="6515327" y="693803"/>
            <a:ext cx="1553431" cy="1032317"/>
          </a:xfrm>
          <a:custGeom>
            <a:avLst/>
            <a:gdLst>
              <a:gd name="connsiteX0" fmla="*/ 885762 w 1328547"/>
              <a:gd name="connsiteY0" fmla="*/ 936365 h 936499"/>
              <a:gd name="connsiteX1" fmla="*/ 885825 w 1328547"/>
              <a:gd name="connsiteY1" fmla="*/ 936499 h 936499"/>
              <a:gd name="connsiteX2" fmla="*/ 885698 w 1328547"/>
              <a:gd name="connsiteY2" fmla="*/ 936499 h 936499"/>
              <a:gd name="connsiteX3" fmla="*/ 442786 w 1328547"/>
              <a:gd name="connsiteY3" fmla="*/ 134 h 936499"/>
              <a:gd name="connsiteX4" fmla="*/ 447696 w 1328547"/>
              <a:gd name="connsiteY4" fmla="*/ 10517 h 936499"/>
              <a:gd name="connsiteX5" fmla="*/ 885571 w 1328547"/>
              <a:gd name="connsiteY5" fmla="*/ 936498 h 936499"/>
              <a:gd name="connsiteX6" fmla="*/ 0 w 1328547"/>
              <a:gd name="connsiteY6" fmla="*/ 936498 h 936499"/>
              <a:gd name="connsiteX7" fmla="*/ 442976 w 1328547"/>
              <a:gd name="connsiteY7" fmla="*/ 1 h 936499"/>
              <a:gd name="connsiteX8" fmla="*/ 1328547 w 1328547"/>
              <a:gd name="connsiteY8" fmla="*/ 1 h 936499"/>
              <a:gd name="connsiteX9" fmla="*/ 885762 w 1328547"/>
              <a:gd name="connsiteY9" fmla="*/ 936365 h 936499"/>
              <a:gd name="connsiteX10" fmla="*/ 880852 w 1328547"/>
              <a:gd name="connsiteY10" fmla="*/ 925982 h 936499"/>
              <a:gd name="connsiteX11" fmla="*/ 442976 w 1328547"/>
              <a:gd name="connsiteY11" fmla="*/ 1 h 936499"/>
              <a:gd name="connsiteX12" fmla="*/ 442722 w 1328547"/>
              <a:gd name="connsiteY12" fmla="*/ 0 h 936499"/>
              <a:gd name="connsiteX13" fmla="*/ 442849 w 1328547"/>
              <a:gd name="connsiteY13" fmla="*/ 0 h 936499"/>
              <a:gd name="connsiteX14" fmla="*/ 442786 w 1328547"/>
              <a:gd name="connsiteY14" fmla="*/ 134 h 93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8547" h="936499">
                <a:moveTo>
                  <a:pt x="885762" y="936365"/>
                </a:moveTo>
                <a:lnTo>
                  <a:pt x="885825" y="936499"/>
                </a:lnTo>
                <a:lnTo>
                  <a:pt x="885698" y="936499"/>
                </a:lnTo>
                <a:close/>
                <a:moveTo>
                  <a:pt x="442786" y="134"/>
                </a:moveTo>
                <a:lnTo>
                  <a:pt x="447696" y="10517"/>
                </a:lnTo>
                <a:cubicBezTo>
                  <a:pt x="496349" y="113404"/>
                  <a:pt x="885571" y="936498"/>
                  <a:pt x="885571" y="936498"/>
                </a:cubicBezTo>
                <a:lnTo>
                  <a:pt x="0" y="936498"/>
                </a:lnTo>
                <a:close/>
                <a:moveTo>
                  <a:pt x="442976" y="1"/>
                </a:moveTo>
                <a:lnTo>
                  <a:pt x="1328547" y="1"/>
                </a:lnTo>
                <a:lnTo>
                  <a:pt x="885762" y="936365"/>
                </a:lnTo>
                <a:lnTo>
                  <a:pt x="880852" y="925982"/>
                </a:lnTo>
                <a:cubicBezTo>
                  <a:pt x="832199" y="823095"/>
                  <a:pt x="442976" y="1"/>
                  <a:pt x="442976" y="1"/>
                </a:cubicBezTo>
                <a:close/>
                <a:moveTo>
                  <a:pt x="442722" y="0"/>
                </a:moveTo>
                <a:lnTo>
                  <a:pt x="442849" y="0"/>
                </a:lnTo>
                <a:lnTo>
                  <a:pt x="442786" y="134"/>
                </a:lnTo>
                <a:close/>
              </a:path>
            </a:pathLst>
          </a:custGeom>
          <a:solidFill>
            <a:schemeClr val="accent1">
              <a:alpha val="66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58" name="Free-form: Shape 57">
            <a:extLst>
              <a:ext uri="{FF2B5EF4-FFF2-40B4-BE49-F238E27FC236}">
                <a16:creationId xmlns:a16="http://schemas.microsoft.com/office/drawing/2014/main" id="{358FAFA3-856C-CF17-8001-FFF4AC2A7BB5}"/>
              </a:ext>
            </a:extLst>
          </p:cNvPr>
          <p:cNvSpPr/>
          <p:nvPr userDrawn="1"/>
        </p:nvSpPr>
        <p:spPr>
          <a:xfrm>
            <a:off x="5997663" y="693803"/>
            <a:ext cx="1553283" cy="1032316"/>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61" name="Free-form: Shape 60">
            <a:extLst>
              <a:ext uri="{FF2B5EF4-FFF2-40B4-BE49-F238E27FC236}">
                <a16:creationId xmlns:a16="http://schemas.microsoft.com/office/drawing/2014/main" id="{DF617F1A-5E2A-826F-24C7-FBF92E02D629}"/>
              </a:ext>
            </a:extLst>
          </p:cNvPr>
          <p:cNvSpPr/>
          <p:nvPr userDrawn="1"/>
        </p:nvSpPr>
        <p:spPr>
          <a:xfrm>
            <a:off x="7897835" y="5666672"/>
            <a:ext cx="1794443" cy="1193869"/>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accent6">
              <a:alpha val="50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62" name="Free-form: Shape 61">
            <a:extLst>
              <a:ext uri="{FF2B5EF4-FFF2-40B4-BE49-F238E27FC236}">
                <a16:creationId xmlns:a16="http://schemas.microsoft.com/office/drawing/2014/main" id="{FF92AA7A-2C80-1E59-C936-ABFC69615300}"/>
              </a:ext>
            </a:extLst>
          </p:cNvPr>
          <p:cNvSpPr/>
          <p:nvPr userDrawn="1"/>
        </p:nvSpPr>
        <p:spPr>
          <a:xfrm>
            <a:off x="8498807" y="5666672"/>
            <a:ext cx="1787315" cy="1191209"/>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4" name="Slide Number Placeholder 5">
            <a:extLst>
              <a:ext uri="{FF2B5EF4-FFF2-40B4-BE49-F238E27FC236}">
                <a16:creationId xmlns:a16="http://schemas.microsoft.com/office/drawing/2014/main" id="{5B3127AF-A3C2-5832-887E-D39B11574766}"/>
              </a:ext>
            </a:extLst>
          </p:cNvPr>
          <p:cNvSpPr>
            <a:spLocks noGrp="1"/>
          </p:cNvSpPr>
          <p:nvPr>
            <p:ph type="sldNum" sz="quarter" idx="4"/>
          </p:nvPr>
        </p:nvSpPr>
        <p:spPr>
          <a:xfrm>
            <a:off x="9750219" y="7004053"/>
            <a:ext cx="631406" cy="396833"/>
          </a:xfrm>
          <a:prstGeom prst="rect">
            <a:avLst/>
          </a:prstGeom>
        </p:spPr>
        <p:txBody>
          <a:bodyPr vert="horz" lIns="0" tIns="0" rIns="0" bIns="0" rtlCol="0" anchor="ctr"/>
          <a:lstStyle>
            <a:lvl1pPr algn="l">
              <a:defRPr sz="1102">
                <a:solidFill>
                  <a:schemeClr val="accent6"/>
                </a:solidFill>
              </a:defRPr>
            </a:lvl1pPr>
          </a:lstStyle>
          <a:p>
            <a:r>
              <a:rPr lang="en-GB" dirty="0"/>
              <a:t>Page </a:t>
            </a:r>
            <a:fld id="{F5AEA0E0-5CC6-4BD0-905C-A0021E419432}" type="slidenum">
              <a:rPr lang="en-GB" smtClean="0"/>
              <a:pPr/>
              <a:t>‹#›</a:t>
            </a:fld>
            <a:endParaRPr lang="en-GB" dirty="0"/>
          </a:p>
        </p:txBody>
      </p:sp>
      <p:cxnSp>
        <p:nvCxnSpPr>
          <p:cNvPr id="5" name="Straight Connector 4">
            <a:extLst>
              <a:ext uri="{FF2B5EF4-FFF2-40B4-BE49-F238E27FC236}">
                <a16:creationId xmlns:a16="http://schemas.microsoft.com/office/drawing/2014/main" id="{FCFDF05C-52EC-6D95-72CD-C8B91309F21D}"/>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90796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DEF600E-A836-4665-A50B-E5BE4AD5429E}"/>
              </a:ext>
            </a:extLst>
          </p:cNvPr>
          <p:cNvSpPr>
            <a:spLocks noGrp="1"/>
          </p:cNvSpPr>
          <p:nvPr>
            <p:ph type="title"/>
          </p:nvPr>
        </p:nvSpPr>
        <p:spPr/>
        <p:txBody>
          <a:bodyPr/>
          <a:lstStyle/>
          <a:p>
            <a:r>
              <a:rPr lang="en-US"/>
              <a:t>Click to edit Master title style</a:t>
            </a:r>
            <a:endParaRPr lang="en-AU" dirty="0"/>
          </a:p>
        </p:txBody>
      </p:sp>
      <p:sp>
        <p:nvSpPr>
          <p:cNvPr id="6" name="Date Placeholder 5">
            <a:extLst>
              <a:ext uri="{FF2B5EF4-FFF2-40B4-BE49-F238E27FC236}">
                <a16:creationId xmlns:a16="http://schemas.microsoft.com/office/drawing/2014/main" id="{EF2443BB-7A97-7B56-A32E-631D8CD62CBD}"/>
              </a:ext>
            </a:extLst>
          </p:cNvPr>
          <p:cNvSpPr>
            <a:spLocks noGrp="1"/>
          </p:cNvSpPr>
          <p:nvPr>
            <p:ph type="dt" sz="half" idx="10"/>
          </p:nvPr>
        </p:nvSpPr>
        <p:spPr/>
        <p:txBody>
          <a:bodyPr/>
          <a:lstStyle/>
          <a:p>
            <a:fld id="{973D4877-A18C-4E62-9946-F942ED83388C}" type="datetime1">
              <a:rPr lang="en-GB" smtClean="0"/>
              <a:t>31/07/2023</a:t>
            </a:fld>
            <a:endParaRPr lang="en-GB" dirty="0"/>
          </a:p>
        </p:txBody>
      </p:sp>
      <p:sp>
        <p:nvSpPr>
          <p:cNvPr id="7" name="Footer Placeholder 6">
            <a:extLst>
              <a:ext uri="{FF2B5EF4-FFF2-40B4-BE49-F238E27FC236}">
                <a16:creationId xmlns:a16="http://schemas.microsoft.com/office/drawing/2014/main" id="{F726E1DD-AD4E-67B7-C4F6-D1DB9008DB2D}"/>
              </a:ext>
            </a:extLst>
          </p:cNvPr>
          <p:cNvSpPr>
            <a:spLocks noGrp="1"/>
          </p:cNvSpPr>
          <p:nvPr>
            <p:ph type="ftr" sz="quarter" idx="11"/>
          </p:nvPr>
        </p:nvSpPr>
        <p:spPr/>
        <p:txBody>
          <a:bodyPr/>
          <a:lstStyle/>
          <a:p>
            <a:r>
              <a:rPr lang="en-GB"/>
              <a:t>To add a Footer, select 'Insert &gt; Header &amp; Footer'</a:t>
            </a:r>
            <a:endParaRPr lang="en-GB" dirty="0"/>
          </a:p>
        </p:txBody>
      </p:sp>
      <p:sp>
        <p:nvSpPr>
          <p:cNvPr id="8" name="Slide Number Placeholder 7">
            <a:extLst>
              <a:ext uri="{FF2B5EF4-FFF2-40B4-BE49-F238E27FC236}">
                <a16:creationId xmlns:a16="http://schemas.microsoft.com/office/drawing/2014/main" id="{D5844A66-C3CA-7B88-CD33-C6D0CC2B8D31}"/>
              </a:ext>
            </a:extLst>
          </p:cNvPr>
          <p:cNvSpPr>
            <a:spLocks noGrp="1"/>
          </p:cNvSpPr>
          <p:nvPr>
            <p:ph type="sldNum" sz="quarter" idx="12"/>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16480505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29A80C0-65A9-BC7C-D22E-85EE44CC74A3}"/>
              </a:ext>
            </a:extLst>
          </p:cNvPr>
          <p:cNvSpPr>
            <a:spLocks noGrp="1"/>
          </p:cNvSpPr>
          <p:nvPr>
            <p:ph type="dt" sz="half" idx="10"/>
          </p:nvPr>
        </p:nvSpPr>
        <p:spPr/>
        <p:txBody>
          <a:bodyPr/>
          <a:lstStyle/>
          <a:p>
            <a:fld id="{973D4877-A18C-4E62-9946-F942ED83388C}" type="datetime1">
              <a:rPr lang="en-GB" smtClean="0"/>
              <a:t>31/07/2023</a:t>
            </a:fld>
            <a:endParaRPr lang="en-GB" dirty="0"/>
          </a:p>
        </p:txBody>
      </p:sp>
      <p:sp>
        <p:nvSpPr>
          <p:cNvPr id="6" name="Footer Placeholder 5">
            <a:extLst>
              <a:ext uri="{FF2B5EF4-FFF2-40B4-BE49-F238E27FC236}">
                <a16:creationId xmlns:a16="http://schemas.microsoft.com/office/drawing/2014/main" id="{6E9D7BD5-0C96-0A6E-631D-DD3B95D284DD}"/>
              </a:ext>
            </a:extLst>
          </p:cNvPr>
          <p:cNvSpPr>
            <a:spLocks noGrp="1"/>
          </p:cNvSpPr>
          <p:nvPr>
            <p:ph type="ftr" sz="quarter" idx="11"/>
          </p:nvPr>
        </p:nvSpPr>
        <p:spPr/>
        <p:txBody>
          <a:bodyPr/>
          <a:lstStyle/>
          <a:p>
            <a:r>
              <a:rPr lang="en-GB"/>
              <a:t>To add a Footer, select 'Insert &gt; Header &amp; Footer'</a:t>
            </a:r>
            <a:endParaRPr lang="en-GB" dirty="0"/>
          </a:p>
        </p:txBody>
      </p:sp>
      <p:sp>
        <p:nvSpPr>
          <p:cNvPr id="7" name="Slide Number Placeholder 6">
            <a:extLst>
              <a:ext uri="{FF2B5EF4-FFF2-40B4-BE49-F238E27FC236}">
                <a16:creationId xmlns:a16="http://schemas.microsoft.com/office/drawing/2014/main" id="{02379D0F-B6EB-9705-927B-79B513BACF9E}"/>
              </a:ext>
            </a:extLst>
          </p:cNvPr>
          <p:cNvSpPr>
            <a:spLocks noGrp="1"/>
          </p:cNvSpPr>
          <p:nvPr>
            <p:ph type="sldNum" sz="quarter" idx="12"/>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10771517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Side panel small right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91997336"/>
              </p:ext>
            </p:extLst>
          </p:nvPr>
        </p:nvGraphicFramePr>
        <p:xfrm>
          <a:off x="1590" y="1589"/>
          <a:ext cx="1587" cy="158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90" y="1589"/>
                        <a:ext cx="1587" cy="1586"/>
                      </a:xfrm>
                      <a:prstGeom prst="rect">
                        <a:avLst/>
                      </a:prstGeom>
                    </p:spPr>
                  </p:pic>
                </p:oleObj>
              </mc:Fallback>
            </mc:AlternateContent>
          </a:graphicData>
        </a:graphic>
      </p:graphicFrame>
    </p:spTree>
    <p:extLst>
      <p:ext uri="{BB962C8B-B14F-4D97-AF65-F5344CB8AC3E}">
        <p14:creationId xmlns:p14="http://schemas.microsoft.com/office/powerpoint/2010/main" val="32719867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5960402-3C59-568B-8720-CD2471B44F32}"/>
              </a:ext>
            </a:extLst>
          </p:cNvPr>
          <p:cNvGraphicFramePr>
            <a:graphicFrameLocks noChangeAspect="1"/>
          </p:cNvGraphicFramePr>
          <p:nvPr userDrawn="1">
            <p:custDataLst>
              <p:tags r:id="rId1"/>
            </p:custDataLst>
            <p:extLst>
              <p:ext uri="{D42A27DB-BD31-4B8C-83A1-F6EECF244321}">
                <p14:modId xmlns:p14="http://schemas.microsoft.com/office/powerpoint/2010/main" val="3745930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75960402-3C59-568B-8720-CD2471B44F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C782174C-E7A6-1F39-19D1-252B5ECF336D}"/>
              </a:ext>
            </a:extLst>
          </p:cNvPr>
          <p:cNvSpPr/>
          <p:nvPr userDrawn="1"/>
        </p:nvSpPr>
        <p:spPr>
          <a:xfrm>
            <a:off x="0" y="1"/>
            <a:ext cx="10693400" cy="39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2" name="Slide Number Placeholder 3">
            <a:extLst>
              <a:ext uri="{FF2B5EF4-FFF2-40B4-BE49-F238E27FC236}">
                <a16:creationId xmlns:a16="http://schemas.microsoft.com/office/drawing/2014/main" id="{596A8BCD-102A-BAB4-CBD4-9A80ECA686E2}"/>
              </a:ext>
            </a:extLst>
          </p:cNvPr>
          <p:cNvSpPr>
            <a:spLocks noGrp="1"/>
          </p:cNvSpPr>
          <p:nvPr>
            <p:ph type="sldNum" sz="quarter" idx="4"/>
          </p:nvPr>
        </p:nvSpPr>
        <p:spPr>
          <a:xfrm>
            <a:off x="432000" y="1"/>
            <a:ext cx="360000" cy="396000"/>
          </a:xfrm>
          <a:prstGeom prst="rect">
            <a:avLst/>
          </a:prstGeom>
        </p:spPr>
        <p:txBody>
          <a:bodyPr lIns="0" rIns="0" anchor="ctr" anchorCtr="0"/>
          <a:lstStyle>
            <a:lvl1pPr algn="r">
              <a:defRPr sz="1100">
                <a:solidFill>
                  <a:srgbClr val="FFFFFF"/>
                </a:solidFill>
              </a:defRPr>
            </a:lvl1pPr>
          </a:lstStyle>
          <a:p>
            <a:pPr algn="l"/>
            <a:fld id="{48F63A3B-78C7-47BE-AE5E-E10140E04643}" type="slidenum">
              <a:rPr lang="en-US" smtClean="0"/>
              <a:pPr algn="l"/>
              <a:t>‹#›</a:t>
            </a:fld>
            <a:endParaRPr lang="en-US"/>
          </a:p>
        </p:txBody>
      </p:sp>
      <p:sp>
        <p:nvSpPr>
          <p:cNvPr id="53" name="Freeform 6">
            <a:hlinkClick r:id="rId5" action="ppaction://hlinksldjump"/>
            <a:extLst>
              <a:ext uri="{FF2B5EF4-FFF2-40B4-BE49-F238E27FC236}">
                <a16:creationId xmlns:a16="http://schemas.microsoft.com/office/drawing/2014/main" id="{001CAD53-1FB2-DBE9-5E14-8DDF17AD1F4F}"/>
              </a:ext>
            </a:extLst>
          </p:cNvPr>
          <p:cNvSpPr>
            <a:spLocks noChangeAspect="1" noEditPoints="1"/>
          </p:cNvSpPr>
          <p:nvPr userDrawn="1"/>
        </p:nvSpPr>
        <p:spPr bwMode="auto">
          <a:xfrm>
            <a:off x="1675466" y="90000"/>
            <a:ext cx="223755" cy="216000"/>
          </a:xfrm>
          <a:custGeom>
            <a:avLst/>
            <a:gdLst>
              <a:gd name="T0" fmla="*/ 170 w 171"/>
              <a:gd name="T1" fmla="*/ 80 h 165"/>
              <a:gd name="T2" fmla="*/ 169 w 171"/>
              <a:gd name="T3" fmla="*/ 80 h 165"/>
              <a:gd name="T4" fmla="*/ 87 w 171"/>
              <a:gd name="T5" fmla="*/ 1 h 165"/>
              <a:gd name="T6" fmla="*/ 87 w 171"/>
              <a:gd name="T7" fmla="*/ 0 h 165"/>
              <a:gd name="T8" fmla="*/ 82 w 171"/>
              <a:gd name="T9" fmla="*/ 0 h 165"/>
              <a:gd name="T10" fmla="*/ 0 w 171"/>
              <a:gd name="T11" fmla="*/ 80 h 165"/>
              <a:gd name="T12" fmla="*/ 0 w 171"/>
              <a:gd name="T13" fmla="*/ 80 h 165"/>
              <a:gd name="T14" fmla="*/ 0 w 171"/>
              <a:gd name="T15" fmla="*/ 82 h 165"/>
              <a:gd name="T16" fmla="*/ 3 w 171"/>
              <a:gd name="T17" fmla="*/ 85 h 165"/>
              <a:gd name="T18" fmla="*/ 5 w 171"/>
              <a:gd name="T19" fmla="*/ 85 h 165"/>
              <a:gd name="T20" fmla="*/ 22 w 171"/>
              <a:gd name="T21" fmla="*/ 68 h 165"/>
              <a:gd name="T22" fmla="*/ 22 w 171"/>
              <a:gd name="T23" fmla="*/ 162 h 165"/>
              <a:gd name="T24" fmla="*/ 26 w 171"/>
              <a:gd name="T25" fmla="*/ 165 h 165"/>
              <a:gd name="T26" fmla="*/ 143 w 171"/>
              <a:gd name="T27" fmla="*/ 165 h 165"/>
              <a:gd name="T28" fmla="*/ 147 w 171"/>
              <a:gd name="T29" fmla="*/ 162 h 165"/>
              <a:gd name="T30" fmla="*/ 147 w 171"/>
              <a:gd name="T31" fmla="*/ 68 h 165"/>
              <a:gd name="T32" fmla="*/ 164 w 171"/>
              <a:gd name="T33" fmla="*/ 85 h 165"/>
              <a:gd name="T34" fmla="*/ 164 w 171"/>
              <a:gd name="T35" fmla="*/ 85 h 165"/>
              <a:gd name="T36" fmla="*/ 168 w 171"/>
              <a:gd name="T37" fmla="*/ 85 h 165"/>
              <a:gd name="T38" fmla="*/ 171 w 171"/>
              <a:gd name="T39" fmla="*/ 82 h 165"/>
              <a:gd name="T40" fmla="*/ 170 w 171"/>
              <a:gd name="T41" fmla="*/ 80 h 165"/>
              <a:gd name="T42" fmla="*/ 101 w 171"/>
              <a:gd name="T43" fmla="*/ 96 h 165"/>
              <a:gd name="T44" fmla="*/ 101 w 171"/>
              <a:gd name="T45" fmla="*/ 158 h 165"/>
              <a:gd name="T46" fmla="*/ 68 w 171"/>
              <a:gd name="T47" fmla="*/ 158 h 165"/>
              <a:gd name="T48" fmla="*/ 68 w 171"/>
              <a:gd name="T49" fmla="*/ 96 h 165"/>
              <a:gd name="T50" fmla="*/ 101 w 171"/>
              <a:gd name="T51" fmla="*/ 96 h 165"/>
              <a:gd name="T52" fmla="*/ 104 w 171"/>
              <a:gd name="T53" fmla="*/ 90 h 165"/>
              <a:gd name="T54" fmla="*/ 65 w 171"/>
              <a:gd name="T55" fmla="*/ 90 h 165"/>
              <a:gd name="T56" fmla="*/ 62 w 171"/>
              <a:gd name="T57" fmla="*/ 93 h 165"/>
              <a:gd name="T58" fmla="*/ 62 w 171"/>
              <a:gd name="T59" fmla="*/ 158 h 165"/>
              <a:gd name="T60" fmla="*/ 29 w 171"/>
              <a:gd name="T61" fmla="*/ 158 h 165"/>
              <a:gd name="T62" fmla="*/ 29 w 171"/>
              <a:gd name="T63" fmla="*/ 61 h 165"/>
              <a:gd name="T64" fmla="*/ 86 w 171"/>
              <a:gd name="T65" fmla="*/ 9 h 165"/>
              <a:gd name="T66" fmla="*/ 140 w 171"/>
              <a:gd name="T67" fmla="*/ 61 h 165"/>
              <a:gd name="T68" fmla="*/ 140 w 171"/>
              <a:gd name="T69" fmla="*/ 158 h 165"/>
              <a:gd name="T70" fmla="*/ 108 w 171"/>
              <a:gd name="T71" fmla="*/ 158 h 165"/>
              <a:gd name="T72" fmla="*/ 108 w 171"/>
              <a:gd name="T73" fmla="*/ 93 h 165"/>
              <a:gd name="T74" fmla="*/ 104 w 171"/>
              <a:gd name="T75" fmla="*/ 9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1" h="165">
                <a:moveTo>
                  <a:pt x="170" y="80"/>
                </a:moveTo>
                <a:cubicBezTo>
                  <a:pt x="169" y="80"/>
                  <a:pt x="169" y="80"/>
                  <a:pt x="169" y="80"/>
                </a:cubicBezTo>
                <a:cubicBezTo>
                  <a:pt x="87" y="1"/>
                  <a:pt x="87" y="1"/>
                  <a:pt x="87" y="1"/>
                </a:cubicBezTo>
                <a:cubicBezTo>
                  <a:pt x="87" y="0"/>
                  <a:pt x="87" y="0"/>
                  <a:pt x="87" y="0"/>
                </a:cubicBezTo>
                <a:cubicBezTo>
                  <a:pt x="82" y="0"/>
                  <a:pt x="82" y="0"/>
                  <a:pt x="82" y="0"/>
                </a:cubicBezTo>
                <a:cubicBezTo>
                  <a:pt x="0" y="80"/>
                  <a:pt x="0" y="80"/>
                  <a:pt x="0" y="80"/>
                </a:cubicBezTo>
                <a:cubicBezTo>
                  <a:pt x="0" y="80"/>
                  <a:pt x="0" y="80"/>
                  <a:pt x="0" y="80"/>
                </a:cubicBezTo>
                <a:cubicBezTo>
                  <a:pt x="0" y="82"/>
                  <a:pt x="0" y="82"/>
                  <a:pt x="0" y="82"/>
                </a:cubicBezTo>
                <a:cubicBezTo>
                  <a:pt x="0" y="84"/>
                  <a:pt x="0" y="85"/>
                  <a:pt x="3" y="85"/>
                </a:cubicBezTo>
                <a:cubicBezTo>
                  <a:pt x="5" y="85"/>
                  <a:pt x="5" y="85"/>
                  <a:pt x="5" y="85"/>
                </a:cubicBezTo>
                <a:cubicBezTo>
                  <a:pt x="22" y="68"/>
                  <a:pt x="22" y="68"/>
                  <a:pt x="22" y="68"/>
                </a:cubicBezTo>
                <a:cubicBezTo>
                  <a:pt x="22" y="162"/>
                  <a:pt x="22" y="162"/>
                  <a:pt x="22" y="162"/>
                </a:cubicBezTo>
                <a:cubicBezTo>
                  <a:pt x="22" y="163"/>
                  <a:pt x="24" y="165"/>
                  <a:pt x="26" y="165"/>
                </a:cubicBezTo>
                <a:cubicBezTo>
                  <a:pt x="143" y="165"/>
                  <a:pt x="143" y="165"/>
                  <a:pt x="143" y="165"/>
                </a:cubicBezTo>
                <a:cubicBezTo>
                  <a:pt x="145" y="165"/>
                  <a:pt x="147" y="163"/>
                  <a:pt x="147" y="162"/>
                </a:cubicBezTo>
                <a:cubicBezTo>
                  <a:pt x="147" y="68"/>
                  <a:pt x="147" y="68"/>
                  <a:pt x="147" y="68"/>
                </a:cubicBezTo>
                <a:cubicBezTo>
                  <a:pt x="164" y="85"/>
                  <a:pt x="164" y="85"/>
                  <a:pt x="164" y="85"/>
                </a:cubicBezTo>
                <a:cubicBezTo>
                  <a:pt x="164" y="85"/>
                  <a:pt x="164" y="85"/>
                  <a:pt x="164" y="85"/>
                </a:cubicBezTo>
                <a:cubicBezTo>
                  <a:pt x="168" y="85"/>
                  <a:pt x="168" y="85"/>
                  <a:pt x="168" y="85"/>
                </a:cubicBezTo>
                <a:cubicBezTo>
                  <a:pt x="169" y="85"/>
                  <a:pt x="171" y="83"/>
                  <a:pt x="171" y="82"/>
                </a:cubicBezTo>
                <a:cubicBezTo>
                  <a:pt x="171" y="81"/>
                  <a:pt x="171" y="80"/>
                  <a:pt x="170" y="80"/>
                </a:cubicBezTo>
                <a:close/>
                <a:moveTo>
                  <a:pt x="101" y="96"/>
                </a:moveTo>
                <a:cubicBezTo>
                  <a:pt x="101" y="158"/>
                  <a:pt x="101" y="158"/>
                  <a:pt x="101" y="158"/>
                </a:cubicBezTo>
                <a:cubicBezTo>
                  <a:pt x="68" y="158"/>
                  <a:pt x="68" y="158"/>
                  <a:pt x="68" y="158"/>
                </a:cubicBezTo>
                <a:cubicBezTo>
                  <a:pt x="68" y="96"/>
                  <a:pt x="68" y="96"/>
                  <a:pt x="68" y="96"/>
                </a:cubicBezTo>
                <a:lnTo>
                  <a:pt x="101" y="96"/>
                </a:lnTo>
                <a:close/>
                <a:moveTo>
                  <a:pt x="104" y="90"/>
                </a:moveTo>
                <a:cubicBezTo>
                  <a:pt x="65" y="90"/>
                  <a:pt x="65" y="90"/>
                  <a:pt x="65" y="90"/>
                </a:cubicBezTo>
                <a:cubicBezTo>
                  <a:pt x="63" y="90"/>
                  <a:pt x="62" y="91"/>
                  <a:pt x="62" y="93"/>
                </a:cubicBezTo>
                <a:cubicBezTo>
                  <a:pt x="62" y="158"/>
                  <a:pt x="62" y="158"/>
                  <a:pt x="62" y="158"/>
                </a:cubicBezTo>
                <a:cubicBezTo>
                  <a:pt x="29" y="158"/>
                  <a:pt x="29" y="158"/>
                  <a:pt x="29" y="158"/>
                </a:cubicBezTo>
                <a:cubicBezTo>
                  <a:pt x="29" y="61"/>
                  <a:pt x="29" y="61"/>
                  <a:pt x="29" y="61"/>
                </a:cubicBezTo>
                <a:cubicBezTo>
                  <a:pt x="86" y="9"/>
                  <a:pt x="86" y="9"/>
                  <a:pt x="86" y="9"/>
                </a:cubicBezTo>
                <a:cubicBezTo>
                  <a:pt x="140" y="61"/>
                  <a:pt x="140" y="61"/>
                  <a:pt x="140" y="61"/>
                </a:cubicBezTo>
                <a:cubicBezTo>
                  <a:pt x="140" y="158"/>
                  <a:pt x="140" y="158"/>
                  <a:pt x="140" y="158"/>
                </a:cubicBezTo>
                <a:cubicBezTo>
                  <a:pt x="108" y="158"/>
                  <a:pt x="108" y="158"/>
                  <a:pt x="108" y="158"/>
                </a:cubicBezTo>
                <a:cubicBezTo>
                  <a:pt x="108" y="93"/>
                  <a:pt x="108" y="93"/>
                  <a:pt x="108" y="93"/>
                </a:cubicBezTo>
                <a:cubicBezTo>
                  <a:pt x="108" y="91"/>
                  <a:pt x="106" y="90"/>
                  <a:pt x="104" y="9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AU"/>
          </a:p>
        </p:txBody>
      </p:sp>
      <p:sp>
        <p:nvSpPr>
          <p:cNvPr id="54" name="Freeform 25">
            <a:hlinkClick r:id="" action="ppaction://hlinkshowjump?jump=previousslide"/>
            <a:extLst>
              <a:ext uri="{FF2B5EF4-FFF2-40B4-BE49-F238E27FC236}">
                <a16:creationId xmlns:a16="http://schemas.microsoft.com/office/drawing/2014/main" id="{30ACECAC-1116-99AB-A92A-CC4985842D57}"/>
              </a:ext>
            </a:extLst>
          </p:cNvPr>
          <p:cNvSpPr>
            <a:spLocks noChangeAspect="1" noEditPoints="1"/>
          </p:cNvSpPr>
          <p:nvPr userDrawn="1"/>
        </p:nvSpPr>
        <p:spPr bwMode="auto">
          <a:xfrm>
            <a:off x="853682" y="108000"/>
            <a:ext cx="198000" cy="198000"/>
          </a:xfrm>
          <a:custGeom>
            <a:avLst/>
            <a:gdLst>
              <a:gd name="T0" fmla="*/ 162 w 170"/>
              <a:gd name="T1" fmla="*/ 155 h 170"/>
              <a:gd name="T2" fmla="*/ 154 w 170"/>
              <a:gd name="T3" fmla="*/ 162 h 170"/>
              <a:gd name="T4" fmla="*/ 15 w 170"/>
              <a:gd name="T5" fmla="*/ 162 h 170"/>
              <a:gd name="T6" fmla="*/ 7 w 170"/>
              <a:gd name="T7" fmla="*/ 155 h 170"/>
              <a:gd name="T8" fmla="*/ 7 w 170"/>
              <a:gd name="T9" fmla="*/ 16 h 170"/>
              <a:gd name="T10" fmla="*/ 15 w 170"/>
              <a:gd name="T11" fmla="*/ 8 h 170"/>
              <a:gd name="T12" fmla="*/ 154 w 170"/>
              <a:gd name="T13" fmla="*/ 8 h 170"/>
              <a:gd name="T14" fmla="*/ 162 w 170"/>
              <a:gd name="T15" fmla="*/ 16 h 170"/>
              <a:gd name="T16" fmla="*/ 162 w 170"/>
              <a:gd name="T17" fmla="*/ 155 h 170"/>
              <a:gd name="T18" fmla="*/ 154 w 170"/>
              <a:gd name="T19" fmla="*/ 0 h 170"/>
              <a:gd name="T20" fmla="*/ 15 w 170"/>
              <a:gd name="T21" fmla="*/ 0 h 170"/>
              <a:gd name="T22" fmla="*/ 0 w 170"/>
              <a:gd name="T23" fmla="*/ 16 h 170"/>
              <a:gd name="T24" fmla="*/ 0 w 170"/>
              <a:gd name="T25" fmla="*/ 155 h 170"/>
              <a:gd name="T26" fmla="*/ 15 w 170"/>
              <a:gd name="T27" fmla="*/ 170 h 170"/>
              <a:gd name="T28" fmla="*/ 154 w 170"/>
              <a:gd name="T29" fmla="*/ 170 h 170"/>
              <a:gd name="T30" fmla="*/ 170 w 170"/>
              <a:gd name="T31" fmla="*/ 155 h 170"/>
              <a:gd name="T32" fmla="*/ 170 w 170"/>
              <a:gd name="T33" fmla="*/ 16 h 170"/>
              <a:gd name="T34" fmla="*/ 154 w 170"/>
              <a:gd name="T35" fmla="*/ 0 h 170"/>
              <a:gd name="T36" fmla="*/ 96 w 170"/>
              <a:gd name="T37" fmla="*/ 39 h 170"/>
              <a:gd name="T38" fmla="*/ 93 w 170"/>
              <a:gd name="T39" fmla="*/ 40 h 170"/>
              <a:gd name="T40" fmla="*/ 93 w 170"/>
              <a:gd name="T41" fmla="*/ 40 h 170"/>
              <a:gd name="T42" fmla="*/ 55 w 170"/>
              <a:gd name="T43" fmla="*/ 82 h 170"/>
              <a:gd name="T44" fmla="*/ 55 w 170"/>
              <a:gd name="T45" fmla="*/ 83 h 170"/>
              <a:gd name="T46" fmla="*/ 54 w 170"/>
              <a:gd name="T47" fmla="*/ 85 h 170"/>
              <a:gd name="T48" fmla="*/ 55 w 170"/>
              <a:gd name="T49" fmla="*/ 88 h 170"/>
              <a:gd name="T50" fmla="*/ 55 w 170"/>
              <a:gd name="T51" fmla="*/ 88 h 170"/>
              <a:gd name="T52" fmla="*/ 93 w 170"/>
              <a:gd name="T53" fmla="*/ 130 h 170"/>
              <a:gd name="T54" fmla="*/ 93 w 170"/>
              <a:gd name="T55" fmla="*/ 130 h 170"/>
              <a:gd name="T56" fmla="*/ 96 w 170"/>
              <a:gd name="T57" fmla="*/ 131 h 170"/>
              <a:gd name="T58" fmla="*/ 100 w 170"/>
              <a:gd name="T59" fmla="*/ 128 h 170"/>
              <a:gd name="T60" fmla="*/ 99 w 170"/>
              <a:gd name="T61" fmla="*/ 125 h 170"/>
              <a:gd name="T62" fmla="*/ 99 w 170"/>
              <a:gd name="T63" fmla="*/ 125 h 170"/>
              <a:gd name="T64" fmla="*/ 63 w 170"/>
              <a:gd name="T65" fmla="*/ 85 h 170"/>
              <a:gd name="T66" fmla="*/ 99 w 170"/>
              <a:gd name="T67" fmla="*/ 45 h 170"/>
              <a:gd name="T68" fmla="*/ 99 w 170"/>
              <a:gd name="T69" fmla="*/ 45 h 170"/>
              <a:gd name="T70" fmla="*/ 100 w 170"/>
              <a:gd name="T71" fmla="*/ 43 h 170"/>
              <a:gd name="T72" fmla="*/ 96 w 170"/>
              <a:gd name="T73" fmla="*/ 3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0" h="170">
                <a:moveTo>
                  <a:pt x="162" y="155"/>
                </a:moveTo>
                <a:cubicBezTo>
                  <a:pt x="162" y="159"/>
                  <a:pt x="158" y="162"/>
                  <a:pt x="154" y="162"/>
                </a:cubicBezTo>
                <a:cubicBezTo>
                  <a:pt x="15" y="162"/>
                  <a:pt x="15" y="162"/>
                  <a:pt x="15" y="162"/>
                </a:cubicBezTo>
                <a:cubicBezTo>
                  <a:pt x="11" y="162"/>
                  <a:pt x="7" y="159"/>
                  <a:pt x="7" y="155"/>
                </a:cubicBezTo>
                <a:cubicBezTo>
                  <a:pt x="7" y="16"/>
                  <a:pt x="7" y="16"/>
                  <a:pt x="7" y="16"/>
                </a:cubicBezTo>
                <a:cubicBezTo>
                  <a:pt x="7" y="11"/>
                  <a:pt x="11" y="8"/>
                  <a:pt x="15" y="8"/>
                </a:cubicBezTo>
                <a:cubicBezTo>
                  <a:pt x="154" y="8"/>
                  <a:pt x="154" y="8"/>
                  <a:pt x="154" y="8"/>
                </a:cubicBezTo>
                <a:cubicBezTo>
                  <a:pt x="158" y="8"/>
                  <a:pt x="162" y="11"/>
                  <a:pt x="162" y="16"/>
                </a:cubicBezTo>
                <a:cubicBezTo>
                  <a:pt x="162" y="155"/>
                  <a:pt x="162" y="155"/>
                  <a:pt x="162" y="155"/>
                </a:cubicBezTo>
                <a:close/>
                <a:moveTo>
                  <a:pt x="154" y="0"/>
                </a:moveTo>
                <a:cubicBezTo>
                  <a:pt x="15" y="0"/>
                  <a:pt x="15" y="0"/>
                  <a:pt x="15" y="0"/>
                </a:cubicBezTo>
                <a:cubicBezTo>
                  <a:pt x="7" y="0"/>
                  <a:pt x="0" y="7"/>
                  <a:pt x="0" y="16"/>
                </a:cubicBezTo>
                <a:cubicBezTo>
                  <a:pt x="0" y="155"/>
                  <a:pt x="0" y="155"/>
                  <a:pt x="0" y="155"/>
                </a:cubicBezTo>
                <a:cubicBezTo>
                  <a:pt x="0" y="163"/>
                  <a:pt x="7" y="170"/>
                  <a:pt x="15" y="170"/>
                </a:cubicBezTo>
                <a:cubicBezTo>
                  <a:pt x="154" y="170"/>
                  <a:pt x="154" y="170"/>
                  <a:pt x="154" y="170"/>
                </a:cubicBezTo>
                <a:cubicBezTo>
                  <a:pt x="163" y="170"/>
                  <a:pt x="170" y="163"/>
                  <a:pt x="170" y="155"/>
                </a:cubicBezTo>
                <a:cubicBezTo>
                  <a:pt x="170" y="16"/>
                  <a:pt x="170" y="16"/>
                  <a:pt x="170" y="16"/>
                </a:cubicBezTo>
                <a:cubicBezTo>
                  <a:pt x="170" y="7"/>
                  <a:pt x="163" y="0"/>
                  <a:pt x="154" y="0"/>
                </a:cubicBezTo>
                <a:moveTo>
                  <a:pt x="96" y="39"/>
                </a:moveTo>
                <a:cubicBezTo>
                  <a:pt x="95" y="39"/>
                  <a:pt x="94" y="39"/>
                  <a:pt x="93" y="40"/>
                </a:cubicBezTo>
                <a:cubicBezTo>
                  <a:pt x="93" y="40"/>
                  <a:pt x="93" y="40"/>
                  <a:pt x="93" y="40"/>
                </a:cubicBezTo>
                <a:cubicBezTo>
                  <a:pt x="55" y="82"/>
                  <a:pt x="55" y="82"/>
                  <a:pt x="55" y="82"/>
                </a:cubicBezTo>
                <a:cubicBezTo>
                  <a:pt x="55" y="83"/>
                  <a:pt x="55" y="83"/>
                  <a:pt x="55" y="83"/>
                </a:cubicBezTo>
                <a:cubicBezTo>
                  <a:pt x="54" y="83"/>
                  <a:pt x="54" y="84"/>
                  <a:pt x="54" y="85"/>
                </a:cubicBezTo>
                <a:cubicBezTo>
                  <a:pt x="54" y="86"/>
                  <a:pt x="54" y="87"/>
                  <a:pt x="55" y="88"/>
                </a:cubicBezTo>
                <a:cubicBezTo>
                  <a:pt x="55" y="88"/>
                  <a:pt x="55" y="88"/>
                  <a:pt x="55" y="88"/>
                </a:cubicBezTo>
                <a:cubicBezTo>
                  <a:pt x="93" y="130"/>
                  <a:pt x="93" y="130"/>
                  <a:pt x="93" y="130"/>
                </a:cubicBezTo>
                <a:cubicBezTo>
                  <a:pt x="93" y="130"/>
                  <a:pt x="93" y="130"/>
                  <a:pt x="93" y="130"/>
                </a:cubicBezTo>
                <a:cubicBezTo>
                  <a:pt x="94" y="131"/>
                  <a:pt x="95" y="131"/>
                  <a:pt x="96" y="131"/>
                </a:cubicBezTo>
                <a:cubicBezTo>
                  <a:pt x="98" y="131"/>
                  <a:pt x="100" y="130"/>
                  <a:pt x="100" y="128"/>
                </a:cubicBezTo>
                <a:cubicBezTo>
                  <a:pt x="100" y="127"/>
                  <a:pt x="100" y="126"/>
                  <a:pt x="99" y="125"/>
                </a:cubicBezTo>
                <a:cubicBezTo>
                  <a:pt x="99" y="125"/>
                  <a:pt x="99" y="125"/>
                  <a:pt x="99" y="125"/>
                </a:cubicBezTo>
                <a:cubicBezTo>
                  <a:pt x="63" y="85"/>
                  <a:pt x="63" y="85"/>
                  <a:pt x="63" y="85"/>
                </a:cubicBezTo>
                <a:cubicBezTo>
                  <a:pt x="99" y="45"/>
                  <a:pt x="99" y="45"/>
                  <a:pt x="99" y="45"/>
                </a:cubicBezTo>
                <a:cubicBezTo>
                  <a:pt x="99" y="45"/>
                  <a:pt x="99" y="45"/>
                  <a:pt x="99" y="45"/>
                </a:cubicBezTo>
                <a:cubicBezTo>
                  <a:pt x="100" y="44"/>
                  <a:pt x="100" y="44"/>
                  <a:pt x="100" y="43"/>
                </a:cubicBezTo>
                <a:cubicBezTo>
                  <a:pt x="100" y="40"/>
                  <a:pt x="98" y="39"/>
                  <a:pt x="96" y="39"/>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AU"/>
          </a:p>
        </p:txBody>
      </p:sp>
      <p:sp>
        <p:nvSpPr>
          <p:cNvPr id="55" name="Freeform 26">
            <a:hlinkClick r:id="" action="ppaction://hlinkshowjump?jump=nextslide"/>
            <a:extLst>
              <a:ext uri="{FF2B5EF4-FFF2-40B4-BE49-F238E27FC236}">
                <a16:creationId xmlns:a16="http://schemas.microsoft.com/office/drawing/2014/main" id="{1BE5C1A1-8F09-B1B9-34F3-D749447783F1}"/>
              </a:ext>
            </a:extLst>
          </p:cNvPr>
          <p:cNvSpPr>
            <a:spLocks noChangeAspect="1" noEditPoints="1"/>
          </p:cNvSpPr>
          <p:nvPr userDrawn="1"/>
        </p:nvSpPr>
        <p:spPr bwMode="auto">
          <a:xfrm>
            <a:off x="1264574" y="108000"/>
            <a:ext cx="198000" cy="198000"/>
          </a:xfrm>
          <a:custGeom>
            <a:avLst/>
            <a:gdLst>
              <a:gd name="T0" fmla="*/ 162 w 170"/>
              <a:gd name="T1" fmla="*/ 155 h 170"/>
              <a:gd name="T2" fmla="*/ 154 w 170"/>
              <a:gd name="T3" fmla="*/ 162 h 170"/>
              <a:gd name="T4" fmla="*/ 15 w 170"/>
              <a:gd name="T5" fmla="*/ 162 h 170"/>
              <a:gd name="T6" fmla="*/ 7 w 170"/>
              <a:gd name="T7" fmla="*/ 155 h 170"/>
              <a:gd name="T8" fmla="*/ 7 w 170"/>
              <a:gd name="T9" fmla="*/ 16 h 170"/>
              <a:gd name="T10" fmla="*/ 15 w 170"/>
              <a:gd name="T11" fmla="*/ 8 h 170"/>
              <a:gd name="T12" fmla="*/ 154 w 170"/>
              <a:gd name="T13" fmla="*/ 8 h 170"/>
              <a:gd name="T14" fmla="*/ 162 w 170"/>
              <a:gd name="T15" fmla="*/ 16 h 170"/>
              <a:gd name="T16" fmla="*/ 162 w 170"/>
              <a:gd name="T17" fmla="*/ 155 h 170"/>
              <a:gd name="T18" fmla="*/ 154 w 170"/>
              <a:gd name="T19" fmla="*/ 0 h 170"/>
              <a:gd name="T20" fmla="*/ 15 w 170"/>
              <a:gd name="T21" fmla="*/ 0 h 170"/>
              <a:gd name="T22" fmla="*/ 0 w 170"/>
              <a:gd name="T23" fmla="*/ 16 h 170"/>
              <a:gd name="T24" fmla="*/ 0 w 170"/>
              <a:gd name="T25" fmla="*/ 155 h 170"/>
              <a:gd name="T26" fmla="*/ 15 w 170"/>
              <a:gd name="T27" fmla="*/ 170 h 170"/>
              <a:gd name="T28" fmla="*/ 154 w 170"/>
              <a:gd name="T29" fmla="*/ 170 h 170"/>
              <a:gd name="T30" fmla="*/ 170 w 170"/>
              <a:gd name="T31" fmla="*/ 155 h 170"/>
              <a:gd name="T32" fmla="*/ 170 w 170"/>
              <a:gd name="T33" fmla="*/ 16 h 170"/>
              <a:gd name="T34" fmla="*/ 154 w 170"/>
              <a:gd name="T35" fmla="*/ 0 h 170"/>
              <a:gd name="T36" fmla="*/ 115 w 170"/>
              <a:gd name="T37" fmla="*/ 83 h 170"/>
              <a:gd name="T38" fmla="*/ 115 w 170"/>
              <a:gd name="T39" fmla="*/ 82 h 170"/>
              <a:gd name="T40" fmla="*/ 76 w 170"/>
              <a:gd name="T41" fmla="*/ 40 h 170"/>
              <a:gd name="T42" fmla="*/ 76 w 170"/>
              <a:gd name="T43" fmla="*/ 40 h 170"/>
              <a:gd name="T44" fmla="*/ 73 w 170"/>
              <a:gd name="T45" fmla="*/ 39 h 170"/>
              <a:gd name="T46" fmla="*/ 69 w 170"/>
              <a:gd name="T47" fmla="*/ 43 h 170"/>
              <a:gd name="T48" fmla="*/ 70 w 170"/>
              <a:gd name="T49" fmla="*/ 45 h 170"/>
              <a:gd name="T50" fmla="*/ 70 w 170"/>
              <a:gd name="T51" fmla="*/ 45 h 170"/>
              <a:gd name="T52" fmla="*/ 106 w 170"/>
              <a:gd name="T53" fmla="*/ 85 h 170"/>
              <a:gd name="T54" fmla="*/ 70 w 170"/>
              <a:gd name="T55" fmla="*/ 125 h 170"/>
              <a:gd name="T56" fmla="*/ 70 w 170"/>
              <a:gd name="T57" fmla="*/ 125 h 170"/>
              <a:gd name="T58" fmla="*/ 69 w 170"/>
              <a:gd name="T59" fmla="*/ 128 h 170"/>
              <a:gd name="T60" fmla="*/ 73 w 170"/>
              <a:gd name="T61" fmla="*/ 131 h 170"/>
              <a:gd name="T62" fmla="*/ 76 w 170"/>
              <a:gd name="T63" fmla="*/ 130 h 170"/>
              <a:gd name="T64" fmla="*/ 76 w 170"/>
              <a:gd name="T65" fmla="*/ 130 h 170"/>
              <a:gd name="T66" fmla="*/ 115 w 170"/>
              <a:gd name="T67" fmla="*/ 88 h 170"/>
              <a:gd name="T68" fmla="*/ 115 w 170"/>
              <a:gd name="T69" fmla="*/ 88 h 170"/>
              <a:gd name="T70" fmla="*/ 116 w 170"/>
              <a:gd name="T71" fmla="*/ 85 h 170"/>
              <a:gd name="T72" fmla="*/ 115 w 170"/>
              <a:gd name="T73" fmla="*/ 8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0" h="170">
                <a:moveTo>
                  <a:pt x="162" y="155"/>
                </a:moveTo>
                <a:cubicBezTo>
                  <a:pt x="162" y="159"/>
                  <a:pt x="158" y="162"/>
                  <a:pt x="154" y="162"/>
                </a:cubicBezTo>
                <a:cubicBezTo>
                  <a:pt x="15" y="162"/>
                  <a:pt x="15" y="162"/>
                  <a:pt x="15" y="162"/>
                </a:cubicBezTo>
                <a:cubicBezTo>
                  <a:pt x="11" y="162"/>
                  <a:pt x="7" y="159"/>
                  <a:pt x="7" y="155"/>
                </a:cubicBezTo>
                <a:cubicBezTo>
                  <a:pt x="7" y="16"/>
                  <a:pt x="7" y="16"/>
                  <a:pt x="7" y="16"/>
                </a:cubicBezTo>
                <a:cubicBezTo>
                  <a:pt x="7" y="11"/>
                  <a:pt x="11" y="8"/>
                  <a:pt x="15" y="8"/>
                </a:cubicBezTo>
                <a:cubicBezTo>
                  <a:pt x="154" y="8"/>
                  <a:pt x="154" y="8"/>
                  <a:pt x="154" y="8"/>
                </a:cubicBezTo>
                <a:cubicBezTo>
                  <a:pt x="158" y="8"/>
                  <a:pt x="162" y="11"/>
                  <a:pt x="162" y="16"/>
                </a:cubicBezTo>
                <a:cubicBezTo>
                  <a:pt x="162" y="155"/>
                  <a:pt x="162" y="155"/>
                  <a:pt x="162" y="155"/>
                </a:cubicBezTo>
                <a:close/>
                <a:moveTo>
                  <a:pt x="154" y="0"/>
                </a:moveTo>
                <a:cubicBezTo>
                  <a:pt x="15" y="0"/>
                  <a:pt x="15" y="0"/>
                  <a:pt x="15" y="0"/>
                </a:cubicBezTo>
                <a:cubicBezTo>
                  <a:pt x="7" y="0"/>
                  <a:pt x="0" y="7"/>
                  <a:pt x="0" y="16"/>
                </a:cubicBezTo>
                <a:cubicBezTo>
                  <a:pt x="0" y="155"/>
                  <a:pt x="0" y="155"/>
                  <a:pt x="0" y="155"/>
                </a:cubicBezTo>
                <a:cubicBezTo>
                  <a:pt x="0" y="163"/>
                  <a:pt x="7" y="170"/>
                  <a:pt x="15" y="170"/>
                </a:cubicBezTo>
                <a:cubicBezTo>
                  <a:pt x="154" y="170"/>
                  <a:pt x="154" y="170"/>
                  <a:pt x="154" y="170"/>
                </a:cubicBezTo>
                <a:cubicBezTo>
                  <a:pt x="163" y="170"/>
                  <a:pt x="170" y="163"/>
                  <a:pt x="170" y="155"/>
                </a:cubicBezTo>
                <a:cubicBezTo>
                  <a:pt x="170" y="16"/>
                  <a:pt x="170" y="16"/>
                  <a:pt x="170" y="16"/>
                </a:cubicBezTo>
                <a:cubicBezTo>
                  <a:pt x="170" y="7"/>
                  <a:pt x="163" y="0"/>
                  <a:pt x="154" y="0"/>
                </a:cubicBezTo>
                <a:moveTo>
                  <a:pt x="115" y="83"/>
                </a:moveTo>
                <a:cubicBezTo>
                  <a:pt x="115" y="82"/>
                  <a:pt x="115" y="82"/>
                  <a:pt x="115" y="82"/>
                </a:cubicBezTo>
                <a:cubicBezTo>
                  <a:pt x="76" y="40"/>
                  <a:pt x="76" y="40"/>
                  <a:pt x="76" y="40"/>
                </a:cubicBezTo>
                <a:cubicBezTo>
                  <a:pt x="76" y="40"/>
                  <a:pt x="76" y="40"/>
                  <a:pt x="76" y="40"/>
                </a:cubicBezTo>
                <a:cubicBezTo>
                  <a:pt x="75" y="39"/>
                  <a:pt x="74" y="39"/>
                  <a:pt x="73" y="39"/>
                </a:cubicBezTo>
                <a:cubicBezTo>
                  <a:pt x="71" y="39"/>
                  <a:pt x="69" y="40"/>
                  <a:pt x="69" y="43"/>
                </a:cubicBezTo>
                <a:cubicBezTo>
                  <a:pt x="69" y="44"/>
                  <a:pt x="70" y="44"/>
                  <a:pt x="70" y="45"/>
                </a:cubicBezTo>
                <a:cubicBezTo>
                  <a:pt x="70" y="45"/>
                  <a:pt x="70" y="45"/>
                  <a:pt x="70" y="45"/>
                </a:cubicBezTo>
                <a:cubicBezTo>
                  <a:pt x="106" y="85"/>
                  <a:pt x="106" y="85"/>
                  <a:pt x="106" y="85"/>
                </a:cubicBezTo>
                <a:cubicBezTo>
                  <a:pt x="70" y="125"/>
                  <a:pt x="70" y="125"/>
                  <a:pt x="70" y="125"/>
                </a:cubicBezTo>
                <a:cubicBezTo>
                  <a:pt x="70" y="125"/>
                  <a:pt x="70" y="125"/>
                  <a:pt x="70" y="125"/>
                </a:cubicBezTo>
                <a:cubicBezTo>
                  <a:pt x="70" y="126"/>
                  <a:pt x="69" y="127"/>
                  <a:pt x="69" y="128"/>
                </a:cubicBezTo>
                <a:cubicBezTo>
                  <a:pt x="69" y="130"/>
                  <a:pt x="71" y="131"/>
                  <a:pt x="73" y="131"/>
                </a:cubicBezTo>
                <a:cubicBezTo>
                  <a:pt x="74" y="131"/>
                  <a:pt x="75" y="131"/>
                  <a:pt x="76" y="130"/>
                </a:cubicBezTo>
                <a:cubicBezTo>
                  <a:pt x="76" y="130"/>
                  <a:pt x="76" y="130"/>
                  <a:pt x="76" y="130"/>
                </a:cubicBezTo>
                <a:cubicBezTo>
                  <a:pt x="115" y="88"/>
                  <a:pt x="115" y="88"/>
                  <a:pt x="115" y="88"/>
                </a:cubicBezTo>
                <a:cubicBezTo>
                  <a:pt x="115" y="88"/>
                  <a:pt x="115" y="88"/>
                  <a:pt x="115" y="88"/>
                </a:cubicBezTo>
                <a:cubicBezTo>
                  <a:pt x="115" y="87"/>
                  <a:pt x="116" y="86"/>
                  <a:pt x="116" y="85"/>
                </a:cubicBezTo>
                <a:cubicBezTo>
                  <a:pt x="116" y="84"/>
                  <a:pt x="115" y="83"/>
                  <a:pt x="115" y="8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AU"/>
          </a:p>
        </p:txBody>
      </p:sp>
      <p:sp>
        <p:nvSpPr>
          <p:cNvPr id="3" name="Text Placeholder 10">
            <a:extLst>
              <a:ext uri="{FF2B5EF4-FFF2-40B4-BE49-F238E27FC236}">
                <a16:creationId xmlns:a16="http://schemas.microsoft.com/office/drawing/2014/main" id="{4D81A660-2265-E753-8A43-6E70100B8D69}"/>
              </a:ext>
            </a:extLst>
          </p:cNvPr>
          <p:cNvSpPr>
            <a:spLocks noGrp="1"/>
          </p:cNvSpPr>
          <p:nvPr>
            <p:ph type="body" sz="quarter" idx="10" hasCustomPrompt="1"/>
          </p:nvPr>
        </p:nvSpPr>
        <p:spPr>
          <a:xfrm>
            <a:off x="431998" y="576000"/>
            <a:ext cx="4680000" cy="346813"/>
          </a:xfrm>
          <a:prstGeom prst="rect">
            <a:avLst/>
          </a:prstGeom>
        </p:spPr>
        <p:txBody>
          <a:bodyPr tIns="36000" bIns="36000" anchor="t" anchorCtr="0"/>
          <a:lstStyle>
            <a:lvl1pPr>
              <a:defRPr lang="en-AU" sz="1800" b="0" kern="1200" spc="0" noProof="0" dirty="0">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vl5pPr>
              <a:defRPr/>
            </a:lvl5pPr>
          </a:lstStyle>
          <a:p>
            <a:pPr marL="0" lvl="0" indent="0" algn="l" defTabSz="995230" rtl="0" eaLnBrk="1" latinLnBrk="0" hangingPunct="1">
              <a:spcBef>
                <a:spcPts val="1306"/>
              </a:spcBef>
              <a:buFont typeface="Arial" pitchFamily="34" charset="0"/>
              <a:buNone/>
            </a:pPr>
            <a:r>
              <a:rPr lang="en-AU" noProof="0"/>
              <a:t>Governing thought</a:t>
            </a:r>
          </a:p>
        </p:txBody>
      </p:sp>
      <p:sp>
        <p:nvSpPr>
          <p:cNvPr id="4" name="Content Placeholder 5">
            <a:extLst>
              <a:ext uri="{FF2B5EF4-FFF2-40B4-BE49-F238E27FC236}">
                <a16:creationId xmlns:a16="http://schemas.microsoft.com/office/drawing/2014/main" id="{52D225E2-349E-B347-7A70-DCCF17DC3A1E}"/>
              </a:ext>
            </a:extLst>
          </p:cNvPr>
          <p:cNvSpPr>
            <a:spLocks noGrp="1"/>
          </p:cNvSpPr>
          <p:nvPr>
            <p:ph sz="quarter" idx="14"/>
          </p:nvPr>
        </p:nvSpPr>
        <p:spPr>
          <a:xfrm>
            <a:off x="431998" y="1116000"/>
            <a:ext cx="4680000" cy="5760000"/>
          </a:xfrm>
        </p:spPr>
        <p:txBody>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5" name="Text Placeholder 2">
            <a:extLst>
              <a:ext uri="{FF2B5EF4-FFF2-40B4-BE49-F238E27FC236}">
                <a16:creationId xmlns:a16="http://schemas.microsoft.com/office/drawing/2014/main" id="{8B1B91C7-EE1A-881D-7605-AEE2C0F90CE2}"/>
              </a:ext>
            </a:extLst>
          </p:cNvPr>
          <p:cNvSpPr>
            <a:spLocks noGrp="1"/>
          </p:cNvSpPr>
          <p:nvPr>
            <p:ph type="body" sz="quarter" idx="32" hasCustomPrompt="1"/>
          </p:nvPr>
        </p:nvSpPr>
        <p:spPr>
          <a:xfrm>
            <a:off x="431999" y="6984000"/>
            <a:ext cx="4680000" cy="316600"/>
          </a:xfrm>
        </p:spPr>
        <p:txBody>
          <a:bodyPr anchor="ctr"/>
          <a:lstStyle>
            <a:lvl1pPr>
              <a:defRPr sz="950">
                <a:solidFill>
                  <a:schemeClr val="bg2"/>
                </a:solidFill>
              </a:defRPr>
            </a:lvl1pPr>
          </a:lstStyle>
          <a:p>
            <a:pPr lvl="0"/>
            <a:r>
              <a:rPr lang="en-AU" noProof="0"/>
              <a:t>Source</a:t>
            </a:r>
          </a:p>
        </p:txBody>
      </p:sp>
      <p:sp>
        <p:nvSpPr>
          <p:cNvPr id="11" name="Text Placeholder 10">
            <a:extLst>
              <a:ext uri="{FF2B5EF4-FFF2-40B4-BE49-F238E27FC236}">
                <a16:creationId xmlns:a16="http://schemas.microsoft.com/office/drawing/2014/main" id="{5F787248-CC91-AAB6-79F7-DE299976864A}"/>
              </a:ext>
            </a:extLst>
          </p:cNvPr>
          <p:cNvSpPr>
            <a:spLocks noGrp="1"/>
          </p:cNvSpPr>
          <p:nvPr>
            <p:ph type="body" sz="quarter" idx="33" hasCustomPrompt="1"/>
          </p:nvPr>
        </p:nvSpPr>
        <p:spPr>
          <a:xfrm>
            <a:off x="5580000" y="576000"/>
            <a:ext cx="4680000" cy="346813"/>
          </a:xfrm>
          <a:prstGeom prst="rect">
            <a:avLst/>
          </a:prstGeom>
        </p:spPr>
        <p:txBody>
          <a:bodyPr tIns="36000" bIns="36000" anchor="t" anchorCtr="0"/>
          <a:lstStyle>
            <a:lvl1pPr>
              <a:defRPr lang="en-AU" sz="1800" b="0" kern="1200" spc="0" noProof="0" dirty="0">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vl5pPr>
              <a:defRPr/>
            </a:lvl5pPr>
          </a:lstStyle>
          <a:p>
            <a:pPr marL="0" lvl="0" indent="0" algn="l" defTabSz="995230" rtl="0" eaLnBrk="1" latinLnBrk="0" hangingPunct="1">
              <a:spcBef>
                <a:spcPts val="1306"/>
              </a:spcBef>
              <a:buFont typeface="Arial" pitchFamily="34" charset="0"/>
              <a:buNone/>
            </a:pPr>
            <a:r>
              <a:rPr lang="en-AU" noProof="0"/>
              <a:t>Governing thought</a:t>
            </a:r>
          </a:p>
        </p:txBody>
      </p:sp>
      <p:sp>
        <p:nvSpPr>
          <p:cNvPr id="12" name="Content Placeholder 5">
            <a:extLst>
              <a:ext uri="{FF2B5EF4-FFF2-40B4-BE49-F238E27FC236}">
                <a16:creationId xmlns:a16="http://schemas.microsoft.com/office/drawing/2014/main" id="{E060FAE0-401E-4901-3133-F47CF3BAA20A}"/>
              </a:ext>
            </a:extLst>
          </p:cNvPr>
          <p:cNvSpPr>
            <a:spLocks noGrp="1"/>
          </p:cNvSpPr>
          <p:nvPr>
            <p:ph sz="quarter" idx="34"/>
          </p:nvPr>
        </p:nvSpPr>
        <p:spPr>
          <a:xfrm>
            <a:off x="5580000" y="1116000"/>
            <a:ext cx="4680000" cy="5760000"/>
          </a:xfrm>
        </p:spPr>
        <p:txBody>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Text Placeholder 2">
            <a:extLst>
              <a:ext uri="{FF2B5EF4-FFF2-40B4-BE49-F238E27FC236}">
                <a16:creationId xmlns:a16="http://schemas.microsoft.com/office/drawing/2014/main" id="{C7785BEB-BA03-392C-A8EF-C4E32FDD4D25}"/>
              </a:ext>
            </a:extLst>
          </p:cNvPr>
          <p:cNvSpPr>
            <a:spLocks noGrp="1"/>
          </p:cNvSpPr>
          <p:nvPr>
            <p:ph type="body" sz="quarter" idx="35" hasCustomPrompt="1"/>
          </p:nvPr>
        </p:nvSpPr>
        <p:spPr>
          <a:xfrm>
            <a:off x="5580000" y="6984000"/>
            <a:ext cx="4680000" cy="316600"/>
          </a:xfrm>
        </p:spPr>
        <p:txBody>
          <a:bodyPr anchor="ctr"/>
          <a:lstStyle>
            <a:lvl1pPr>
              <a:defRPr sz="950">
                <a:solidFill>
                  <a:schemeClr val="bg2"/>
                </a:solidFill>
              </a:defRPr>
            </a:lvl1pPr>
          </a:lstStyle>
          <a:p>
            <a:pPr lvl="0"/>
            <a:r>
              <a:rPr lang="en-AU" noProof="0"/>
              <a:t>Source</a:t>
            </a:r>
          </a:p>
        </p:txBody>
      </p:sp>
    </p:spTree>
    <p:extLst>
      <p:ext uri="{BB962C8B-B14F-4D97-AF65-F5344CB8AC3E}">
        <p14:creationId xmlns:p14="http://schemas.microsoft.com/office/powerpoint/2010/main" val="4850105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5960402-3C59-568B-8720-CD2471B44F32}"/>
              </a:ext>
            </a:extLst>
          </p:cNvPr>
          <p:cNvGraphicFramePr>
            <a:graphicFrameLocks noChangeAspect="1"/>
          </p:cNvGraphicFramePr>
          <p:nvPr userDrawn="1">
            <p:custDataLst>
              <p:tags r:id="rId1"/>
            </p:custDataLst>
            <p:extLst>
              <p:ext uri="{D42A27DB-BD31-4B8C-83A1-F6EECF244321}">
                <p14:modId xmlns:p14="http://schemas.microsoft.com/office/powerpoint/2010/main" val="3536758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75960402-3C59-568B-8720-CD2471B44F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9DCD4D52-32FF-7771-2B69-3EB01C06E1EC}"/>
              </a:ext>
            </a:extLst>
          </p:cNvPr>
          <p:cNvSpPr/>
          <p:nvPr userDrawn="1"/>
        </p:nvSpPr>
        <p:spPr>
          <a:xfrm>
            <a:off x="-1586" y="396000"/>
            <a:ext cx="10693399" cy="11921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Rectangle 5">
            <a:extLst>
              <a:ext uri="{FF2B5EF4-FFF2-40B4-BE49-F238E27FC236}">
                <a16:creationId xmlns:a16="http://schemas.microsoft.com/office/drawing/2014/main" id="{951874C9-BD4A-2FF8-B7A5-097B4A40F58E}"/>
              </a:ext>
            </a:extLst>
          </p:cNvPr>
          <p:cNvSpPr/>
          <p:nvPr userDrawn="1"/>
        </p:nvSpPr>
        <p:spPr>
          <a:xfrm>
            <a:off x="0" y="0"/>
            <a:ext cx="10693400" cy="39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Rectangle 20">
            <a:extLst>
              <a:ext uri="{FF2B5EF4-FFF2-40B4-BE49-F238E27FC236}">
                <a16:creationId xmlns:a16="http://schemas.microsoft.com/office/drawing/2014/main" id="{C782174C-E7A6-1F39-19D1-252B5ECF336D}"/>
              </a:ext>
            </a:extLst>
          </p:cNvPr>
          <p:cNvSpPr/>
          <p:nvPr userDrawn="1"/>
        </p:nvSpPr>
        <p:spPr>
          <a:xfrm>
            <a:off x="0" y="1"/>
            <a:ext cx="10693400" cy="39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2" name="Slide Number Placeholder 3">
            <a:extLst>
              <a:ext uri="{FF2B5EF4-FFF2-40B4-BE49-F238E27FC236}">
                <a16:creationId xmlns:a16="http://schemas.microsoft.com/office/drawing/2014/main" id="{596A8BCD-102A-BAB4-CBD4-9A80ECA686E2}"/>
              </a:ext>
            </a:extLst>
          </p:cNvPr>
          <p:cNvSpPr>
            <a:spLocks noGrp="1"/>
          </p:cNvSpPr>
          <p:nvPr>
            <p:ph type="sldNum" sz="quarter" idx="4"/>
          </p:nvPr>
        </p:nvSpPr>
        <p:spPr>
          <a:xfrm>
            <a:off x="432000" y="1"/>
            <a:ext cx="360000" cy="396000"/>
          </a:xfrm>
          <a:prstGeom prst="rect">
            <a:avLst/>
          </a:prstGeom>
        </p:spPr>
        <p:txBody>
          <a:bodyPr lIns="0" rIns="0" anchor="ctr" anchorCtr="0"/>
          <a:lstStyle>
            <a:lvl1pPr algn="r">
              <a:defRPr sz="1100">
                <a:solidFill>
                  <a:srgbClr val="FFFFFF"/>
                </a:solidFill>
              </a:defRPr>
            </a:lvl1pPr>
          </a:lstStyle>
          <a:p>
            <a:pPr algn="l"/>
            <a:fld id="{48F63A3B-78C7-47BE-AE5E-E10140E04643}" type="slidenum">
              <a:rPr lang="en-US" smtClean="0"/>
              <a:pPr algn="l"/>
              <a:t>‹#›</a:t>
            </a:fld>
            <a:endParaRPr lang="en-US"/>
          </a:p>
        </p:txBody>
      </p:sp>
      <p:sp>
        <p:nvSpPr>
          <p:cNvPr id="53" name="Freeform 6">
            <a:hlinkClick r:id="rId5" action="ppaction://hlinksldjump"/>
            <a:extLst>
              <a:ext uri="{FF2B5EF4-FFF2-40B4-BE49-F238E27FC236}">
                <a16:creationId xmlns:a16="http://schemas.microsoft.com/office/drawing/2014/main" id="{001CAD53-1FB2-DBE9-5E14-8DDF17AD1F4F}"/>
              </a:ext>
            </a:extLst>
          </p:cNvPr>
          <p:cNvSpPr>
            <a:spLocks noChangeAspect="1" noEditPoints="1"/>
          </p:cNvSpPr>
          <p:nvPr userDrawn="1"/>
        </p:nvSpPr>
        <p:spPr bwMode="auto">
          <a:xfrm>
            <a:off x="1675466" y="90000"/>
            <a:ext cx="223755" cy="216000"/>
          </a:xfrm>
          <a:custGeom>
            <a:avLst/>
            <a:gdLst>
              <a:gd name="T0" fmla="*/ 170 w 171"/>
              <a:gd name="T1" fmla="*/ 80 h 165"/>
              <a:gd name="T2" fmla="*/ 169 w 171"/>
              <a:gd name="T3" fmla="*/ 80 h 165"/>
              <a:gd name="T4" fmla="*/ 87 w 171"/>
              <a:gd name="T5" fmla="*/ 1 h 165"/>
              <a:gd name="T6" fmla="*/ 87 w 171"/>
              <a:gd name="T7" fmla="*/ 0 h 165"/>
              <a:gd name="T8" fmla="*/ 82 w 171"/>
              <a:gd name="T9" fmla="*/ 0 h 165"/>
              <a:gd name="T10" fmla="*/ 0 w 171"/>
              <a:gd name="T11" fmla="*/ 80 h 165"/>
              <a:gd name="T12" fmla="*/ 0 w 171"/>
              <a:gd name="T13" fmla="*/ 80 h 165"/>
              <a:gd name="T14" fmla="*/ 0 w 171"/>
              <a:gd name="T15" fmla="*/ 82 h 165"/>
              <a:gd name="T16" fmla="*/ 3 w 171"/>
              <a:gd name="T17" fmla="*/ 85 h 165"/>
              <a:gd name="T18" fmla="*/ 5 w 171"/>
              <a:gd name="T19" fmla="*/ 85 h 165"/>
              <a:gd name="T20" fmla="*/ 22 w 171"/>
              <a:gd name="T21" fmla="*/ 68 h 165"/>
              <a:gd name="T22" fmla="*/ 22 w 171"/>
              <a:gd name="T23" fmla="*/ 162 h 165"/>
              <a:gd name="T24" fmla="*/ 26 w 171"/>
              <a:gd name="T25" fmla="*/ 165 h 165"/>
              <a:gd name="T26" fmla="*/ 143 w 171"/>
              <a:gd name="T27" fmla="*/ 165 h 165"/>
              <a:gd name="T28" fmla="*/ 147 w 171"/>
              <a:gd name="T29" fmla="*/ 162 h 165"/>
              <a:gd name="T30" fmla="*/ 147 w 171"/>
              <a:gd name="T31" fmla="*/ 68 h 165"/>
              <a:gd name="T32" fmla="*/ 164 w 171"/>
              <a:gd name="T33" fmla="*/ 85 h 165"/>
              <a:gd name="T34" fmla="*/ 164 w 171"/>
              <a:gd name="T35" fmla="*/ 85 h 165"/>
              <a:gd name="T36" fmla="*/ 168 w 171"/>
              <a:gd name="T37" fmla="*/ 85 h 165"/>
              <a:gd name="T38" fmla="*/ 171 w 171"/>
              <a:gd name="T39" fmla="*/ 82 h 165"/>
              <a:gd name="T40" fmla="*/ 170 w 171"/>
              <a:gd name="T41" fmla="*/ 80 h 165"/>
              <a:gd name="T42" fmla="*/ 101 w 171"/>
              <a:gd name="T43" fmla="*/ 96 h 165"/>
              <a:gd name="T44" fmla="*/ 101 w 171"/>
              <a:gd name="T45" fmla="*/ 158 h 165"/>
              <a:gd name="T46" fmla="*/ 68 w 171"/>
              <a:gd name="T47" fmla="*/ 158 h 165"/>
              <a:gd name="T48" fmla="*/ 68 w 171"/>
              <a:gd name="T49" fmla="*/ 96 h 165"/>
              <a:gd name="T50" fmla="*/ 101 w 171"/>
              <a:gd name="T51" fmla="*/ 96 h 165"/>
              <a:gd name="T52" fmla="*/ 104 w 171"/>
              <a:gd name="T53" fmla="*/ 90 h 165"/>
              <a:gd name="T54" fmla="*/ 65 w 171"/>
              <a:gd name="T55" fmla="*/ 90 h 165"/>
              <a:gd name="T56" fmla="*/ 62 w 171"/>
              <a:gd name="T57" fmla="*/ 93 h 165"/>
              <a:gd name="T58" fmla="*/ 62 w 171"/>
              <a:gd name="T59" fmla="*/ 158 h 165"/>
              <a:gd name="T60" fmla="*/ 29 w 171"/>
              <a:gd name="T61" fmla="*/ 158 h 165"/>
              <a:gd name="T62" fmla="*/ 29 w 171"/>
              <a:gd name="T63" fmla="*/ 61 h 165"/>
              <a:gd name="T64" fmla="*/ 86 w 171"/>
              <a:gd name="T65" fmla="*/ 9 h 165"/>
              <a:gd name="T66" fmla="*/ 140 w 171"/>
              <a:gd name="T67" fmla="*/ 61 h 165"/>
              <a:gd name="T68" fmla="*/ 140 w 171"/>
              <a:gd name="T69" fmla="*/ 158 h 165"/>
              <a:gd name="T70" fmla="*/ 108 w 171"/>
              <a:gd name="T71" fmla="*/ 158 h 165"/>
              <a:gd name="T72" fmla="*/ 108 w 171"/>
              <a:gd name="T73" fmla="*/ 93 h 165"/>
              <a:gd name="T74" fmla="*/ 104 w 171"/>
              <a:gd name="T75" fmla="*/ 9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1" h="165">
                <a:moveTo>
                  <a:pt x="170" y="80"/>
                </a:moveTo>
                <a:cubicBezTo>
                  <a:pt x="169" y="80"/>
                  <a:pt x="169" y="80"/>
                  <a:pt x="169" y="80"/>
                </a:cubicBezTo>
                <a:cubicBezTo>
                  <a:pt x="87" y="1"/>
                  <a:pt x="87" y="1"/>
                  <a:pt x="87" y="1"/>
                </a:cubicBezTo>
                <a:cubicBezTo>
                  <a:pt x="87" y="0"/>
                  <a:pt x="87" y="0"/>
                  <a:pt x="87" y="0"/>
                </a:cubicBezTo>
                <a:cubicBezTo>
                  <a:pt x="82" y="0"/>
                  <a:pt x="82" y="0"/>
                  <a:pt x="82" y="0"/>
                </a:cubicBezTo>
                <a:cubicBezTo>
                  <a:pt x="0" y="80"/>
                  <a:pt x="0" y="80"/>
                  <a:pt x="0" y="80"/>
                </a:cubicBezTo>
                <a:cubicBezTo>
                  <a:pt x="0" y="80"/>
                  <a:pt x="0" y="80"/>
                  <a:pt x="0" y="80"/>
                </a:cubicBezTo>
                <a:cubicBezTo>
                  <a:pt x="0" y="82"/>
                  <a:pt x="0" y="82"/>
                  <a:pt x="0" y="82"/>
                </a:cubicBezTo>
                <a:cubicBezTo>
                  <a:pt x="0" y="84"/>
                  <a:pt x="0" y="85"/>
                  <a:pt x="3" y="85"/>
                </a:cubicBezTo>
                <a:cubicBezTo>
                  <a:pt x="5" y="85"/>
                  <a:pt x="5" y="85"/>
                  <a:pt x="5" y="85"/>
                </a:cubicBezTo>
                <a:cubicBezTo>
                  <a:pt x="22" y="68"/>
                  <a:pt x="22" y="68"/>
                  <a:pt x="22" y="68"/>
                </a:cubicBezTo>
                <a:cubicBezTo>
                  <a:pt x="22" y="162"/>
                  <a:pt x="22" y="162"/>
                  <a:pt x="22" y="162"/>
                </a:cubicBezTo>
                <a:cubicBezTo>
                  <a:pt x="22" y="163"/>
                  <a:pt x="24" y="165"/>
                  <a:pt x="26" y="165"/>
                </a:cubicBezTo>
                <a:cubicBezTo>
                  <a:pt x="143" y="165"/>
                  <a:pt x="143" y="165"/>
                  <a:pt x="143" y="165"/>
                </a:cubicBezTo>
                <a:cubicBezTo>
                  <a:pt x="145" y="165"/>
                  <a:pt x="147" y="163"/>
                  <a:pt x="147" y="162"/>
                </a:cubicBezTo>
                <a:cubicBezTo>
                  <a:pt x="147" y="68"/>
                  <a:pt x="147" y="68"/>
                  <a:pt x="147" y="68"/>
                </a:cubicBezTo>
                <a:cubicBezTo>
                  <a:pt x="164" y="85"/>
                  <a:pt x="164" y="85"/>
                  <a:pt x="164" y="85"/>
                </a:cubicBezTo>
                <a:cubicBezTo>
                  <a:pt x="164" y="85"/>
                  <a:pt x="164" y="85"/>
                  <a:pt x="164" y="85"/>
                </a:cubicBezTo>
                <a:cubicBezTo>
                  <a:pt x="168" y="85"/>
                  <a:pt x="168" y="85"/>
                  <a:pt x="168" y="85"/>
                </a:cubicBezTo>
                <a:cubicBezTo>
                  <a:pt x="169" y="85"/>
                  <a:pt x="171" y="83"/>
                  <a:pt x="171" y="82"/>
                </a:cubicBezTo>
                <a:cubicBezTo>
                  <a:pt x="171" y="81"/>
                  <a:pt x="171" y="80"/>
                  <a:pt x="170" y="80"/>
                </a:cubicBezTo>
                <a:close/>
                <a:moveTo>
                  <a:pt x="101" y="96"/>
                </a:moveTo>
                <a:cubicBezTo>
                  <a:pt x="101" y="158"/>
                  <a:pt x="101" y="158"/>
                  <a:pt x="101" y="158"/>
                </a:cubicBezTo>
                <a:cubicBezTo>
                  <a:pt x="68" y="158"/>
                  <a:pt x="68" y="158"/>
                  <a:pt x="68" y="158"/>
                </a:cubicBezTo>
                <a:cubicBezTo>
                  <a:pt x="68" y="96"/>
                  <a:pt x="68" y="96"/>
                  <a:pt x="68" y="96"/>
                </a:cubicBezTo>
                <a:lnTo>
                  <a:pt x="101" y="96"/>
                </a:lnTo>
                <a:close/>
                <a:moveTo>
                  <a:pt x="104" y="90"/>
                </a:moveTo>
                <a:cubicBezTo>
                  <a:pt x="65" y="90"/>
                  <a:pt x="65" y="90"/>
                  <a:pt x="65" y="90"/>
                </a:cubicBezTo>
                <a:cubicBezTo>
                  <a:pt x="63" y="90"/>
                  <a:pt x="62" y="91"/>
                  <a:pt x="62" y="93"/>
                </a:cubicBezTo>
                <a:cubicBezTo>
                  <a:pt x="62" y="158"/>
                  <a:pt x="62" y="158"/>
                  <a:pt x="62" y="158"/>
                </a:cubicBezTo>
                <a:cubicBezTo>
                  <a:pt x="29" y="158"/>
                  <a:pt x="29" y="158"/>
                  <a:pt x="29" y="158"/>
                </a:cubicBezTo>
                <a:cubicBezTo>
                  <a:pt x="29" y="61"/>
                  <a:pt x="29" y="61"/>
                  <a:pt x="29" y="61"/>
                </a:cubicBezTo>
                <a:cubicBezTo>
                  <a:pt x="86" y="9"/>
                  <a:pt x="86" y="9"/>
                  <a:pt x="86" y="9"/>
                </a:cubicBezTo>
                <a:cubicBezTo>
                  <a:pt x="140" y="61"/>
                  <a:pt x="140" y="61"/>
                  <a:pt x="140" y="61"/>
                </a:cubicBezTo>
                <a:cubicBezTo>
                  <a:pt x="140" y="158"/>
                  <a:pt x="140" y="158"/>
                  <a:pt x="140" y="158"/>
                </a:cubicBezTo>
                <a:cubicBezTo>
                  <a:pt x="108" y="158"/>
                  <a:pt x="108" y="158"/>
                  <a:pt x="108" y="158"/>
                </a:cubicBezTo>
                <a:cubicBezTo>
                  <a:pt x="108" y="93"/>
                  <a:pt x="108" y="93"/>
                  <a:pt x="108" y="93"/>
                </a:cubicBezTo>
                <a:cubicBezTo>
                  <a:pt x="108" y="91"/>
                  <a:pt x="106" y="90"/>
                  <a:pt x="104" y="9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AU"/>
          </a:p>
        </p:txBody>
      </p:sp>
      <p:sp>
        <p:nvSpPr>
          <p:cNvPr id="54" name="Freeform 25">
            <a:hlinkClick r:id="" action="ppaction://hlinkshowjump?jump=previousslide"/>
            <a:extLst>
              <a:ext uri="{FF2B5EF4-FFF2-40B4-BE49-F238E27FC236}">
                <a16:creationId xmlns:a16="http://schemas.microsoft.com/office/drawing/2014/main" id="{30ACECAC-1116-99AB-A92A-CC4985842D57}"/>
              </a:ext>
            </a:extLst>
          </p:cNvPr>
          <p:cNvSpPr>
            <a:spLocks noChangeAspect="1" noEditPoints="1"/>
          </p:cNvSpPr>
          <p:nvPr userDrawn="1"/>
        </p:nvSpPr>
        <p:spPr bwMode="auto">
          <a:xfrm>
            <a:off x="853682" y="108000"/>
            <a:ext cx="198000" cy="198000"/>
          </a:xfrm>
          <a:custGeom>
            <a:avLst/>
            <a:gdLst>
              <a:gd name="T0" fmla="*/ 162 w 170"/>
              <a:gd name="T1" fmla="*/ 155 h 170"/>
              <a:gd name="T2" fmla="*/ 154 w 170"/>
              <a:gd name="T3" fmla="*/ 162 h 170"/>
              <a:gd name="T4" fmla="*/ 15 w 170"/>
              <a:gd name="T5" fmla="*/ 162 h 170"/>
              <a:gd name="T6" fmla="*/ 7 w 170"/>
              <a:gd name="T7" fmla="*/ 155 h 170"/>
              <a:gd name="T8" fmla="*/ 7 w 170"/>
              <a:gd name="T9" fmla="*/ 16 h 170"/>
              <a:gd name="T10" fmla="*/ 15 w 170"/>
              <a:gd name="T11" fmla="*/ 8 h 170"/>
              <a:gd name="T12" fmla="*/ 154 w 170"/>
              <a:gd name="T13" fmla="*/ 8 h 170"/>
              <a:gd name="T14" fmla="*/ 162 w 170"/>
              <a:gd name="T15" fmla="*/ 16 h 170"/>
              <a:gd name="T16" fmla="*/ 162 w 170"/>
              <a:gd name="T17" fmla="*/ 155 h 170"/>
              <a:gd name="T18" fmla="*/ 154 w 170"/>
              <a:gd name="T19" fmla="*/ 0 h 170"/>
              <a:gd name="T20" fmla="*/ 15 w 170"/>
              <a:gd name="T21" fmla="*/ 0 h 170"/>
              <a:gd name="T22" fmla="*/ 0 w 170"/>
              <a:gd name="T23" fmla="*/ 16 h 170"/>
              <a:gd name="T24" fmla="*/ 0 w 170"/>
              <a:gd name="T25" fmla="*/ 155 h 170"/>
              <a:gd name="T26" fmla="*/ 15 w 170"/>
              <a:gd name="T27" fmla="*/ 170 h 170"/>
              <a:gd name="T28" fmla="*/ 154 w 170"/>
              <a:gd name="T29" fmla="*/ 170 h 170"/>
              <a:gd name="T30" fmla="*/ 170 w 170"/>
              <a:gd name="T31" fmla="*/ 155 h 170"/>
              <a:gd name="T32" fmla="*/ 170 w 170"/>
              <a:gd name="T33" fmla="*/ 16 h 170"/>
              <a:gd name="T34" fmla="*/ 154 w 170"/>
              <a:gd name="T35" fmla="*/ 0 h 170"/>
              <a:gd name="T36" fmla="*/ 96 w 170"/>
              <a:gd name="T37" fmla="*/ 39 h 170"/>
              <a:gd name="T38" fmla="*/ 93 w 170"/>
              <a:gd name="T39" fmla="*/ 40 h 170"/>
              <a:gd name="T40" fmla="*/ 93 w 170"/>
              <a:gd name="T41" fmla="*/ 40 h 170"/>
              <a:gd name="T42" fmla="*/ 55 w 170"/>
              <a:gd name="T43" fmla="*/ 82 h 170"/>
              <a:gd name="T44" fmla="*/ 55 w 170"/>
              <a:gd name="T45" fmla="*/ 83 h 170"/>
              <a:gd name="T46" fmla="*/ 54 w 170"/>
              <a:gd name="T47" fmla="*/ 85 h 170"/>
              <a:gd name="T48" fmla="*/ 55 w 170"/>
              <a:gd name="T49" fmla="*/ 88 h 170"/>
              <a:gd name="T50" fmla="*/ 55 w 170"/>
              <a:gd name="T51" fmla="*/ 88 h 170"/>
              <a:gd name="T52" fmla="*/ 93 w 170"/>
              <a:gd name="T53" fmla="*/ 130 h 170"/>
              <a:gd name="T54" fmla="*/ 93 w 170"/>
              <a:gd name="T55" fmla="*/ 130 h 170"/>
              <a:gd name="T56" fmla="*/ 96 w 170"/>
              <a:gd name="T57" fmla="*/ 131 h 170"/>
              <a:gd name="T58" fmla="*/ 100 w 170"/>
              <a:gd name="T59" fmla="*/ 128 h 170"/>
              <a:gd name="T60" fmla="*/ 99 w 170"/>
              <a:gd name="T61" fmla="*/ 125 h 170"/>
              <a:gd name="T62" fmla="*/ 99 w 170"/>
              <a:gd name="T63" fmla="*/ 125 h 170"/>
              <a:gd name="T64" fmla="*/ 63 w 170"/>
              <a:gd name="T65" fmla="*/ 85 h 170"/>
              <a:gd name="T66" fmla="*/ 99 w 170"/>
              <a:gd name="T67" fmla="*/ 45 h 170"/>
              <a:gd name="T68" fmla="*/ 99 w 170"/>
              <a:gd name="T69" fmla="*/ 45 h 170"/>
              <a:gd name="T70" fmla="*/ 100 w 170"/>
              <a:gd name="T71" fmla="*/ 43 h 170"/>
              <a:gd name="T72" fmla="*/ 96 w 170"/>
              <a:gd name="T73" fmla="*/ 3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0" h="170">
                <a:moveTo>
                  <a:pt x="162" y="155"/>
                </a:moveTo>
                <a:cubicBezTo>
                  <a:pt x="162" y="159"/>
                  <a:pt x="158" y="162"/>
                  <a:pt x="154" y="162"/>
                </a:cubicBezTo>
                <a:cubicBezTo>
                  <a:pt x="15" y="162"/>
                  <a:pt x="15" y="162"/>
                  <a:pt x="15" y="162"/>
                </a:cubicBezTo>
                <a:cubicBezTo>
                  <a:pt x="11" y="162"/>
                  <a:pt x="7" y="159"/>
                  <a:pt x="7" y="155"/>
                </a:cubicBezTo>
                <a:cubicBezTo>
                  <a:pt x="7" y="16"/>
                  <a:pt x="7" y="16"/>
                  <a:pt x="7" y="16"/>
                </a:cubicBezTo>
                <a:cubicBezTo>
                  <a:pt x="7" y="11"/>
                  <a:pt x="11" y="8"/>
                  <a:pt x="15" y="8"/>
                </a:cubicBezTo>
                <a:cubicBezTo>
                  <a:pt x="154" y="8"/>
                  <a:pt x="154" y="8"/>
                  <a:pt x="154" y="8"/>
                </a:cubicBezTo>
                <a:cubicBezTo>
                  <a:pt x="158" y="8"/>
                  <a:pt x="162" y="11"/>
                  <a:pt x="162" y="16"/>
                </a:cubicBezTo>
                <a:cubicBezTo>
                  <a:pt x="162" y="155"/>
                  <a:pt x="162" y="155"/>
                  <a:pt x="162" y="155"/>
                </a:cubicBezTo>
                <a:close/>
                <a:moveTo>
                  <a:pt x="154" y="0"/>
                </a:moveTo>
                <a:cubicBezTo>
                  <a:pt x="15" y="0"/>
                  <a:pt x="15" y="0"/>
                  <a:pt x="15" y="0"/>
                </a:cubicBezTo>
                <a:cubicBezTo>
                  <a:pt x="7" y="0"/>
                  <a:pt x="0" y="7"/>
                  <a:pt x="0" y="16"/>
                </a:cubicBezTo>
                <a:cubicBezTo>
                  <a:pt x="0" y="155"/>
                  <a:pt x="0" y="155"/>
                  <a:pt x="0" y="155"/>
                </a:cubicBezTo>
                <a:cubicBezTo>
                  <a:pt x="0" y="163"/>
                  <a:pt x="7" y="170"/>
                  <a:pt x="15" y="170"/>
                </a:cubicBezTo>
                <a:cubicBezTo>
                  <a:pt x="154" y="170"/>
                  <a:pt x="154" y="170"/>
                  <a:pt x="154" y="170"/>
                </a:cubicBezTo>
                <a:cubicBezTo>
                  <a:pt x="163" y="170"/>
                  <a:pt x="170" y="163"/>
                  <a:pt x="170" y="155"/>
                </a:cubicBezTo>
                <a:cubicBezTo>
                  <a:pt x="170" y="16"/>
                  <a:pt x="170" y="16"/>
                  <a:pt x="170" y="16"/>
                </a:cubicBezTo>
                <a:cubicBezTo>
                  <a:pt x="170" y="7"/>
                  <a:pt x="163" y="0"/>
                  <a:pt x="154" y="0"/>
                </a:cubicBezTo>
                <a:moveTo>
                  <a:pt x="96" y="39"/>
                </a:moveTo>
                <a:cubicBezTo>
                  <a:pt x="95" y="39"/>
                  <a:pt x="94" y="39"/>
                  <a:pt x="93" y="40"/>
                </a:cubicBezTo>
                <a:cubicBezTo>
                  <a:pt x="93" y="40"/>
                  <a:pt x="93" y="40"/>
                  <a:pt x="93" y="40"/>
                </a:cubicBezTo>
                <a:cubicBezTo>
                  <a:pt x="55" y="82"/>
                  <a:pt x="55" y="82"/>
                  <a:pt x="55" y="82"/>
                </a:cubicBezTo>
                <a:cubicBezTo>
                  <a:pt x="55" y="83"/>
                  <a:pt x="55" y="83"/>
                  <a:pt x="55" y="83"/>
                </a:cubicBezTo>
                <a:cubicBezTo>
                  <a:pt x="54" y="83"/>
                  <a:pt x="54" y="84"/>
                  <a:pt x="54" y="85"/>
                </a:cubicBezTo>
                <a:cubicBezTo>
                  <a:pt x="54" y="86"/>
                  <a:pt x="54" y="87"/>
                  <a:pt x="55" y="88"/>
                </a:cubicBezTo>
                <a:cubicBezTo>
                  <a:pt x="55" y="88"/>
                  <a:pt x="55" y="88"/>
                  <a:pt x="55" y="88"/>
                </a:cubicBezTo>
                <a:cubicBezTo>
                  <a:pt x="93" y="130"/>
                  <a:pt x="93" y="130"/>
                  <a:pt x="93" y="130"/>
                </a:cubicBezTo>
                <a:cubicBezTo>
                  <a:pt x="93" y="130"/>
                  <a:pt x="93" y="130"/>
                  <a:pt x="93" y="130"/>
                </a:cubicBezTo>
                <a:cubicBezTo>
                  <a:pt x="94" y="131"/>
                  <a:pt x="95" y="131"/>
                  <a:pt x="96" y="131"/>
                </a:cubicBezTo>
                <a:cubicBezTo>
                  <a:pt x="98" y="131"/>
                  <a:pt x="100" y="130"/>
                  <a:pt x="100" y="128"/>
                </a:cubicBezTo>
                <a:cubicBezTo>
                  <a:pt x="100" y="127"/>
                  <a:pt x="100" y="126"/>
                  <a:pt x="99" y="125"/>
                </a:cubicBezTo>
                <a:cubicBezTo>
                  <a:pt x="99" y="125"/>
                  <a:pt x="99" y="125"/>
                  <a:pt x="99" y="125"/>
                </a:cubicBezTo>
                <a:cubicBezTo>
                  <a:pt x="63" y="85"/>
                  <a:pt x="63" y="85"/>
                  <a:pt x="63" y="85"/>
                </a:cubicBezTo>
                <a:cubicBezTo>
                  <a:pt x="99" y="45"/>
                  <a:pt x="99" y="45"/>
                  <a:pt x="99" y="45"/>
                </a:cubicBezTo>
                <a:cubicBezTo>
                  <a:pt x="99" y="45"/>
                  <a:pt x="99" y="45"/>
                  <a:pt x="99" y="45"/>
                </a:cubicBezTo>
                <a:cubicBezTo>
                  <a:pt x="100" y="44"/>
                  <a:pt x="100" y="44"/>
                  <a:pt x="100" y="43"/>
                </a:cubicBezTo>
                <a:cubicBezTo>
                  <a:pt x="100" y="40"/>
                  <a:pt x="98" y="39"/>
                  <a:pt x="96" y="39"/>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AU"/>
          </a:p>
        </p:txBody>
      </p:sp>
      <p:sp>
        <p:nvSpPr>
          <p:cNvPr id="55" name="Freeform 26">
            <a:hlinkClick r:id="" action="ppaction://hlinkshowjump?jump=nextslide"/>
            <a:extLst>
              <a:ext uri="{FF2B5EF4-FFF2-40B4-BE49-F238E27FC236}">
                <a16:creationId xmlns:a16="http://schemas.microsoft.com/office/drawing/2014/main" id="{1BE5C1A1-8F09-B1B9-34F3-D749447783F1}"/>
              </a:ext>
            </a:extLst>
          </p:cNvPr>
          <p:cNvSpPr>
            <a:spLocks noChangeAspect="1" noEditPoints="1"/>
          </p:cNvSpPr>
          <p:nvPr userDrawn="1"/>
        </p:nvSpPr>
        <p:spPr bwMode="auto">
          <a:xfrm>
            <a:off x="1264574" y="108000"/>
            <a:ext cx="198000" cy="198000"/>
          </a:xfrm>
          <a:custGeom>
            <a:avLst/>
            <a:gdLst>
              <a:gd name="T0" fmla="*/ 162 w 170"/>
              <a:gd name="T1" fmla="*/ 155 h 170"/>
              <a:gd name="T2" fmla="*/ 154 w 170"/>
              <a:gd name="T3" fmla="*/ 162 h 170"/>
              <a:gd name="T4" fmla="*/ 15 w 170"/>
              <a:gd name="T5" fmla="*/ 162 h 170"/>
              <a:gd name="T6" fmla="*/ 7 w 170"/>
              <a:gd name="T7" fmla="*/ 155 h 170"/>
              <a:gd name="T8" fmla="*/ 7 w 170"/>
              <a:gd name="T9" fmla="*/ 16 h 170"/>
              <a:gd name="T10" fmla="*/ 15 w 170"/>
              <a:gd name="T11" fmla="*/ 8 h 170"/>
              <a:gd name="T12" fmla="*/ 154 w 170"/>
              <a:gd name="T13" fmla="*/ 8 h 170"/>
              <a:gd name="T14" fmla="*/ 162 w 170"/>
              <a:gd name="T15" fmla="*/ 16 h 170"/>
              <a:gd name="T16" fmla="*/ 162 w 170"/>
              <a:gd name="T17" fmla="*/ 155 h 170"/>
              <a:gd name="T18" fmla="*/ 154 w 170"/>
              <a:gd name="T19" fmla="*/ 0 h 170"/>
              <a:gd name="T20" fmla="*/ 15 w 170"/>
              <a:gd name="T21" fmla="*/ 0 h 170"/>
              <a:gd name="T22" fmla="*/ 0 w 170"/>
              <a:gd name="T23" fmla="*/ 16 h 170"/>
              <a:gd name="T24" fmla="*/ 0 w 170"/>
              <a:gd name="T25" fmla="*/ 155 h 170"/>
              <a:gd name="T26" fmla="*/ 15 w 170"/>
              <a:gd name="T27" fmla="*/ 170 h 170"/>
              <a:gd name="T28" fmla="*/ 154 w 170"/>
              <a:gd name="T29" fmla="*/ 170 h 170"/>
              <a:gd name="T30" fmla="*/ 170 w 170"/>
              <a:gd name="T31" fmla="*/ 155 h 170"/>
              <a:gd name="T32" fmla="*/ 170 w 170"/>
              <a:gd name="T33" fmla="*/ 16 h 170"/>
              <a:gd name="T34" fmla="*/ 154 w 170"/>
              <a:gd name="T35" fmla="*/ 0 h 170"/>
              <a:gd name="T36" fmla="*/ 115 w 170"/>
              <a:gd name="T37" fmla="*/ 83 h 170"/>
              <a:gd name="T38" fmla="*/ 115 w 170"/>
              <a:gd name="T39" fmla="*/ 82 h 170"/>
              <a:gd name="T40" fmla="*/ 76 w 170"/>
              <a:gd name="T41" fmla="*/ 40 h 170"/>
              <a:gd name="T42" fmla="*/ 76 w 170"/>
              <a:gd name="T43" fmla="*/ 40 h 170"/>
              <a:gd name="T44" fmla="*/ 73 w 170"/>
              <a:gd name="T45" fmla="*/ 39 h 170"/>
              <a:gd name="T46" fmla="*/ 69 w 170"/>
              <a:gd name="T47" fmla="*/ 43 h 170"/>
              <a:gd name="T48" fmla="*/ 70 w 170"/>
              <a:gd name="T49" fmla="*/ 45 h 170"/>
              <a:gd name="T50" fmla="*/ 70 w 170"/>
              <a:gd name="T51" fmla="*/ 45 h 170"/>
              <a:gd name="T52" fmla="*/ 106 w 170"/>
              <a:gd name="T53" fmla="*/ 85 h 170"/>
              <a:gd name="T54" fmla="*/ 70 w 170"/>
              <a:gd name="T55" fmla="*/ 125 h 170"/>
              <a:gd name="T56" fmla="*/ 70 w 170"/>
              <a:gd name="T57" fmla="*/ 125 h 170"/>
              <a:gd name="T58" fmla="*/ 69 w 170"/>
              <a:gd name="T59" fmla="*/ 128 h 170"/>
              <a:gd name="T60" fmla="*/ 73 w 170"/>
              <a:gd name="T61" fmla="*/ 131 h 170"/>
              <a:gd name="T62" fmla="*/ 76 w 170"/>
              <a:gd name="T63" fmla="*/ 130 h 170"/>
              <a:gd name="T64" fmla="*/ 76 w 170"/>
              <a:gd name="T65" fmla="*/ 130 h 170"/>
              <a:gd name="T66" fmla="*/ 115 w 170"/>
              <a:gd name="T67" fmla="*/ 88 h 170"/>
              <a:gd name="T68" fmla="*/ 115 w 170"/>
              <a:gd name="T69" fmla="*/ 88 h 170"/>
              <a:gd name="T70" fmla="*/ 116 w 170"/>
              <a:gd name="T71" fmla="*/ 85 h 170"/>
              <a:gd name="T72" fmla="*/ 115 w 170"/>
              <a:gd name="T73" fmla="*/ 8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0" h="170">
                <a:moveTo>
                  <a:pt x="162" y="155"/>
                </a:moveTo>
                <a:cubicBezTo>
                  <a:pt x="162" y="159"/>
                  <a:pt x="158" y="162"/>
                  <a:pt x="154" y="162"/>
                </a:cubicBezTo>
                <a:cubicBezTo>
                  <a:pt x="15" y="162"/>
                  <a:pt x="15" y="162"/>
                  <a:pt x="15" y="162"/>
                </a:cubicBezTo>
                <a:cubicBezTo>
                  <a:pt x="11" y="162"/>
                  <a:pt x="7" y="159"/>
                  <a:pt x="7" y="155"/>
                </a:cubicBezTo>
                <a:cubicBezTo>
                  <a:pt x="7" y="16"/>
                  <a:pt x="7" y="16"/>
                  <a:pt x="7" y="16"/>
                </a:cubicBezTo>
                <a:cubicBezTo>
                  <a:pt x="7" y="11"/>
                  <a:pt x="11" y="8"/>
                  <a:pt x="15" y="8"/>
                </a:cubicBezTo>
                <a:cubicBezTo>
                  <a:pt x="154" y="8"/>
                  <a:pt x="154" y="8"/>
                  <a:pt x="154" y="8"/>
                </a:cubicBezTo>
                <a:cubicBezTo>
                  <a:pt x="158" y="8"/>
                  <a:pt x="162" y="11"/>
                  <a:pt x="162" y="16"/>
                </a:cubicBezTo>
                <a:cubicBezTo>
                  <a:pt x="162" y="155"/>
                  <a:pt x="162" y="155"/>
                  <a:pt x="162" y="155"/>
                </a:cubicBezTo>
                <a:close/>
                <a:moveTo>
                  <a:pt x="154" y="0"/>
                </a:moveTo>
                <a:cubicBezTo>
                  <a:pt x="15" y="0"/>
                  <a:pt x="15" y="0"/>
                  <a:pt x="15" y="0"/>
                </a:cubicBezTo>
                <a:cubicBezTo>
                  <a:pt x="7" y="0"/>
                  <a:pt x="0" y="7"/>
                  <a:pt x="0" y="16"/>
                </a:cubicBezTo>
                <a:cubicBezTo>
                  <a:pt x="0" y="155"/>
                  <a:pt x="0" y="155"/>
                  <a:pt x="0" y="155"/>
                </a:cubicBezTo>
                <a:cubicBezTo>
                  <a:pt x="0" y="163"/>
                  <a:pt x="7" y="170"/>
                  <a:pt x="15" y="170"/>
                </a:cubicBezTo>
                <a:cubicBezTo>
                  <a:pt x="154" y="170"/>
                  <a:pt x="154" y="170"/>
                  <a:pt x="154" y="170"/>
                </a:cubicBezTo>
                <a:cubicBezTo>
                  <a:pt x="163" y="170"/>
                  <a:pt x="170" y="163"/>
                  <a:pt x="170" y="155"/>
                </a:cubicBezTo>
                <a:cubicBezTo>
                  <a:pt x="170" y="16"/>
                  <a:pt x="170" y="16"/>
                  <a:pt x="170" y="16"/>
                </a:cubicBezTo>
                <a:cubicBezTo>
                  <a:pt x="170" y="7"/>
                  <a:pt x="163" y="0"/>
                  <a:pt x="154" y="0"/>
                </a:cubicBezTo>
                <a:moveTo>
                  <a:pt x="115" y="83"/>
                </a:moveTo>
                <a:cubicBezTo>
                  <a:pt x="115" y="82"/>
                  <a:pt x="115" y="82"/>
                  <a:pt x="115" y="82"/>
                </a:cubicBezTo>
                <a:cubicBezTo>
                  <a:pt x="76" y="40"/>
                  <a:pt x="76" y="40"/>
                  <a:pt x="76" y="40"/>
                </a:cubicBezTo>
                <a:cubicBezTo>
                  <a:pt x="76" y="40"/>
                  <a:pt x="76" y="40"/>
                  <a:pt x="76" y="40"/>
                </a:cubicBezTo>
                <a:cubicBezTo>
                  <a:pt x="75" y="39"/>
                  <a:pt x="74" y="39"/>
                  <a:pt x="73" y="39"/>
                </a:cubicBezTo>
                <a:cubicBezTo>
                  <a:pt x="71" y="39"/>
                  <a:pt x="69" y="40"/>
                  <a:pt x="69" y="43"/>
                </a:cubicBezTo>
                <a:cubicBezTo>
                  <a:pt x="69" y="44"/>
                  <a:pt x="70" y="44"/>
                  <a:pt x="70" y="45"/>
                </a:cubicBezTo>
                <a:cubicBezTo>
                  <a:pt x="70" y="45"/>
                  <a:pt x="70" y="45"/>
                  <a:pt x="70" y="45"/>
                </a:cubicBezTo>
                <a:cubicBezTo>
                  <a:pt x="106" y="85"/>
                  <a:pt x="106" y="85"/>
                  <a:pt x="106" y="85"/>
                </a:cubicBezTo>
                <a:cubicBezTo>
                  <a:pt x="70" y="125"/>
                  <a:pt x="70" y="125"/>
                  <a:pt x="70" y="125"/>
                </a:cubicBezTo>
                <a:cubicBezTo>
                  <a:pt x="70" y="125"/>
                  <a:pt x="70" y="125"/>
                  <a:pt x="70" y="125"/>
                </a:cubicBezTo>
                <a:cubicBezTo>
                  <a:pt x="70" y="126"/>
                  <a:pt x="69" y="127"/>
                  <a:pt x="69" y="128"/>
                </a:cubicBezTo>
                <a:cubicBezTo>
                  <a:pt x="69" y="130"/>
                  <a:pt x="71" y="131"/>
                  <a:pt x="73" y="131"/>
                </a:cubicBezTo>
                <a:cubicBezTo>
                  <a:pt x="74" y="131"/>
                  <a:pt x="75" y="131"/>
                  <a:pt x="76" y="130"/>
                </a:cubicBezTo>
                <a:cubicBezTo>
                  <a:pt x="76" y="130"/>
                  <a:pt x="76" y="130"/>
                  <a:pt x="76" y="130"/>
                </a:cubicBezTo>
                <a:cubicBezTo>
                  <a:pt x="115" y="88"/>
                  <a:pt x="115" y="88"/>
                  <a:pt x="115" y="88"/>
                </a:cubicBezTo>
                <a:cubicBezTo>
                  <a:pt x="115" y="88"/>
                  <a:pt x="115" y="88"/>
                  <a:pt x="115" y="88"/>
                </a:cubicBezTo>
                <a:cubicBezTo>
                  <a:pt x="115" y="87"/>
                  <a:pt x="116" y="86"/>
                  <a:pt x="116" y="85"/>
                </a:cubicBezTo>
                <a:cubicBezTo>
                  <a:pt x="116" y="84"/>
                  <a:pt x="115" y="83"/>
                  <a:pt x="115" y="8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AU"/>
          </a:p>
        </p:txBody>
      </p:sp>
      <p:sp>
        <p:nvSpPr>
          <p:cNvPr id="5" name="Text Placeholder 10">
            <a:extLst>
              <a:ext uri="{FF2B5EF4-FFF2-40B4-BE49-F238E27FC236}">
                <a16:creationId xmlns:a16="http://schemas.microsoft.com/office/drawing/2014/main" id="{AE828BEA-F057-EEA1-5ED8-813F17263D77}"/>
              </a:ext>
            </a:extLst>
          </p:cNvPr>
          <p:cNvSpPr>
            <a:spLocks noGrp="1"/>
          </p:cNvSpPr>
          <p:nvPr>
            <p:ph type="body" sz="quarter" idx="10" hasCustomPrompt="1"/>
          </p:nvPr>
        </p:nvSpPr>
        <p:spPr>
          <a:xfrm>
            <a:off x="432648" y="576000"/>
            <a:ext cx="9826516" cy="346813"/>
          </a:xfrm>
          <a:prstGeom prst="rect">
            <a:avLst/>
          </a:prstGeom>
        </p:spPr>
        <p:txBody>
          <a:bodyPr tIns="36000" bIns="36000" anchor="t" anchorCtr="0"/>
          <a:lstStyle>
            <a:lvl1pPr>
              <a:defRPr lang="en-AU" sz="1800" b="0" kern="1200" spc="0" noProof="0" dirty="0">
                <a:solidFill>
                  <a:schemeClr val="accent6"/>
                </a:solidFill>
                <a:latin typeface="Segoe UI Semibold" panose="020B0702040204020203" pitchFamily="34" charset="0"/>
                <a:ea typeface="Segoe UI Semibold" panose="020B0702040204020203" pitchFamily="34" charset="0"/>
                <a:cs typeface="Segoe UI Semibold" panose="020B0702040204020203" pitchFamily="34" charset="0"/>
              </a:defRPr>
            </a:lvl1pPr>
            <a:lvl5pPr>
              <a:defRPr/>
            </a:lvl5pPr>
          </a:lstStyle>
          <a:p>
            <a:pPr marL="0" lvl="0" indent="0" algn="l" defTabSz="995230" rtl="0" eaLnBrk="1" latinLnBrk="0" hangingPunct="1">
              <a:spcBef>
                <a:spcPts val="1306"/>
              </a:spcBef>
              <a:buFont typeface="Arial" pitchFamily="34" charset="0"/>
              <a:buNone/>
            </a:pPr>
            <a:r>
              <a:rPr lang="en-AU" noProof="0" dirty="0"/>
              <a:t>Governing thought</a:t>
            </a:r>
          </a:p>
        </p:txBody>
      </p:sp>
      <p:sp>
        <p:nvSpPr>
          <p:cNvPr id="11" name="Content Placeholder 5">
            <a:extLst>
              <a:ext uri="{FF2B5EF4-FFF2-40B4-BE49-F238E27FC236}">
                <a16:creationId xmlns:a16="http://schemas.microsoft.com/office/drawing/2014/main" id="{8E89A827-ED1C-1592-77B0-59606C995771}"/>
              </a:ext>
            </a:extLst>
          </p:cNvPr>
          <p:cNvSpPr>
            <a:spLocks noGrp="1"/>
          </p:cNvSpPr>
          <p:nvPr>
            <p:ph sz="quarter" idx="14"/>
          </p:nvPr>
        </p:nvSpPr>
        <p:spPr>
          <a:xfrm>
            <a:off x="432001" y="1116000"/>
            <a:ext cx="9827164" cy="5760000"/>
          </a:xfrm>
        </p:spPr>
        <p:txBody>
          <a:bodyPr/>
          <a:lstStyle>
            <a:lvl1pPr>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AU" noProof="0" dirty="0"/>
          </a:p>
        </p:txBody>
      </p:sp>
      <p:sp>
        <p:nvSpPr>
          <p:cNvPr id="12" name="Text Placeholder 2">
            <a:extLst>
              <a:ext uri="{FF2B5EF4-FFF2-40B4-BE49-F238E27FC236}">
                <a16:creationId xmlns:a16="http://schemas.microsoft.com/office/drawing/2014/main" id="{70F4E26B-48D1-89E5-8EBB-ED185966C67C}"/>
              </a:ext>
            </a:extLst>
          </p:cNvPr>
          <p:cNvSpPr>
            <a:spLocks noGrp="1"/>
          </p:cNvSpPr>
          <p:nvPr>
            <p:ph type="body" sz="quarter" idx="32" hasCustomPrompt="1"/>
          </p:nvPr>
        </p:nvSpPr>
        <p:spPr>
          <a:xfrm>
            <a:off x="432001" y="6984000"/>
            <a:ext cx="9827164" cy="316600"/>
          </a:xfrm>
        </p:spPr>
        <p:txBody>
          <a:bodyPr anchor="ctr"/>
          <a:lstStyle>
            <a:lvl1pPr>
              <a:defRPr sz="950">
                <a:solidFill>
                  <a:schemeClr val="accent6"/>
                </a:solidFill>
              </a:defRPr>
            </a:lvl1pPr>
          </a:lstStyle>
          <a:p>
            <a:pPr lvl="0"/>
            <a:r>
              <a:rPr lang="en-AU" noProof="0" dirty="0"/>
              <a:t>Source</a:t>
            </a:r>
          </a:p>
        </p:txBody>
      </p:sp>
    </p:spTree>
    <p:extLst>
      <p:ext uri="{BB962C8B-B14F-4D97-AF65-F5344CB8AC3E}">
        <p14:creationId xmlns:p14="http://schemas.microsoft.com/office/powerpoint/2010/main" val="15000153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dark">
    <p:spTree>
      <p:nvGrpSpPr>
        <p:cNvPr id="1" name=""/>
        <p:cNvGrpSpPr/>
        <p:nvPr/>
      </p:nvGrpSpPr>
      <p:grpSpPr>
        <a:xfrm>
          <a:off x="0" y="0"/>
          <a:ext cx="0" cy="0"/>
          <a:chOff x="0" y="0"/>
          <a:chExt cx="0" cy="0"/>
        </a:xfrm>
      </p:grpSpPr>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568002" y="614693"/>
            <a:ext cx="5366953" cy="1587333"/>
          </a:xfrm>
        </p:spPr>
        <p:txBody>
          <a:bodyPr/>
          <a:lstStyle>
            <a:lvl1pPr marL="0" indent="0" algn="l">
              <a:buNone/>
              <a:defRPr sz="3417" b="0">
                <a:solidFill>
                  <a:schemeClr val="accent6"/>
                </a:solidFill>
              </a:defRPr>
            </a:lvl1pPr>
            <a:lvl2pPr marL="0" indent="0" algn="l">
              <a:buNone/>
              <a:defRPr sz="2535" b="0">
                <a:solidFill>
                  <a:schemeClr val="accent6"/>
                </a:solidFill>
              </a:defRPr>
            </a:lvl2pPr>
            <a:lvl3pPr marL="0" indent="0" algn="l">
              <a:buNone/>
              <a:defRPr sz="2535" b="0">
                <a:solidFill>
                  <a:schemeClr val="accent6"/>
                </a:solidFill>
              </a:defRPr>
            </a:lvl3pPr>
            <a:lvl4pPr marL="0" indent="0" algn="l">
              <a:buNone/>
              <a:defRPr sz="2535" b="0">
                <a:solidFill>
                  <a:schemeClr val="accent6"/>
                </a:solidFill>
              </a:defRPr>
            </a:lvl4pPr>
            <a:lvl5pPr marL="0" indent="0" algn="l">
              <a:buNone/>
              <a:defRPr sz="2535" b="0">
                <a:solidFill>
                  <a:schemeClr val="accent6"/>
                </a:solidFill>
              </a:defRPr>
            </a:lvl5pPr>
            <a:lvl6pPr marL="0" indent="0" algn="l">
              <a:buNone/>
              <a:defRPr sz="2535" b="0">
                <a:solidFill>
                  <a:schemeClr val="accent6"/>
                </a:solidFill>
              </a:defRPr>
            </a:lvl6pPr>
            <a:lvl7pPr marL="0" indent="0" algn="l">
              <a:buNone/>
              <a:defRPr sz="2535" b="0">
                <a:solidFill>
                  <a:schemeClr val="accent6"/>
                </a:solidFill>
              </a:defRPr>
            </a:lvl7pPr>
            <a:lvl8pPr marL="0" indent="0" algn="l">
              <a:buNone/>
              <a:defRPr sz="2535" b="0">
                <a:solidFill>
                  <a:schemeClr val="accent6"/>
                </a:solidFill>
              </a:defRPr>
            </a:lvl8pPr>
            <a:lvl9pPr marL="0" indent="0" algn="l">
              <a:buNone/>
              <a:defRPr sz="2535" b="0">
                <a:solidFill>
                  <a:schemeClr val="accent6"/>
                </a:solidFill>
              </a:defRPr>
            </a:lvl9pPr>
          </a:lstStyle>
          <a:p>
            <a:r>
              <a:rPr lang="en-AU" dirty="0"/>
              <a:t>Title heading-first level</a:t>
            </a:r>
            <a:endParaRPr lang="en-GB" dirty="0"/>
          </a:p>
          <a:p>
            <a:pPr lvl="1"/>
            <a:r>
              <a:rPr lang="en-US" dirty="0"/>
              <a:t>Subheading-second level</a:t>
            </a:r>
            <a:endParaRPr lang="en-GB" dirty="0"/>
          </a:p>
        </p:txBody>
      </p:sp>
      <p:sp>
        <p:nvSpPr>
          <p:cNvPr id="6" name="Free-form: Shape 5">
            <a:extLst>
              <a:ext uri="{FF2B5EF4-FFF2-40B4-BE49-F238E27FC236}">
                <a16:creationId xmlns:a16="http://schemas.microsoft.com/office/drawing/2014/main" id="{61B08C00-0226-56F5-FDD7-5FA0EF3DB3D2}"/>
              </a:ext>
            </a:extLst>
          </p:cNvPr>
          <p:cNvSpPr/>
          <p:nvPr/>
        </p:nvSpPr>
        <p:spPr>
          <a:xfrm>
            <a:off x="1" y="2462353"/>
            <a:ext cx="10699395" cy="4400882"/>
          </a:xfrm>
          <a:custGeom>
            <a:avLst/>
            <a:gdLst>
              <a:gd name="connsiteX0" fmla="*/ 0 w 8820023"/>
              <a:gd name="connsiteY0" fmla="*/ 0 h 3990721"/>
              <a:gd name="connsiteX1" fmla="*/ 8820023 w 8820023"/>
              <a:gd name="connsiteY1" fmla="*/ 0 h 3990721"/>
              <a:gd name="connsiteX2" fmla="*/ 8820023 w 8820023"/>
              <a:gd name="connsiteY2" fmla="*/ 3990721 h 3990721"/>
              <a:gd name="connsiteX3" fmla="*/ 0 w 8820023"/>
              <a:gd name="connsiteY3" fmla="*/ 3990721 h 3990721"/>
            </a:gdLst>
            <a:ahLst/>
            <a:cxnLst>
              <a:cxn ang="0">
                <a:pos x="connsiteX0" y="connsiteY0"/>
              </a:cxn>
              <a:cxn ang="0">
                <a:pos x="connsiteX1" y="connsiteY1"/>
              </a:cxn>
              <a:cxn ang="0">
                <a:pos x="connsiteX2" y="connsiteY2"/>
              </a:cxn>
              <a:cxn ang="0">
                <a:pos x="connsiteX3" y="connsiteY3"/>
              </a:cxn>
            </a:cxnLst>
            <a:rect l="l" t="t" r="r" b="b"/>
            <a:pathLst>
              <a:path w="8820023" h="3990721">
                <a:moveTo>
                  <a:pt x="0" y="0"/>
                </a:moveTo>
                <a:lnTo>
                  <a:pt x="8820023" y="0"/>
                </a:lnTo>
                <a:lnTo>
                  <a:pt x="8820023" y="3990721"/>
                </a:lnTo>
                <a:lnTo>
                  <a:pt x="0" y="3990721"/>
                </a:lnTo>
                <a:close/>
              </a:path>
            </a:pathLst>
          </a:custGeom>
          <a:solidFill>
            <a:srgbClr val="53565A"/>
          </a:solidFill>
          <a:ln w="12695" cap="flat">
            <a:noFill/>
            <a:prstDash val="solid"/>
            <a:miter/>
          </a:ln>
        </p:spPr>
        <p:txBody>
          <a:bodyPr rtlCol="0" anchor="ctr"/>
          <a:lstStyle/>
          <a:p>
            <a:endParaRPr lang="en-AU" sz="2263">
              <a:solidFill>
                <a:schemeClr val="accent6"/>
              </a:solidFill>
            </a:endParaRPr>
          </a:p>
        </p:txBody>
      </p:sp>
      <p:sp>
        <p:nvSpPr>
          <p:cNvPr id="8" name="Free-form: Shape 7">
            <a:extLst>
              <a:ext uri="{FF2B5EF4-FFF2-40B4-BE49-F238E27FC236}">
                <a16:creationId xmlns:a16="http://schemas.microsoft.com/office/drawing/2014/main" id="{1F1CE9E1-B56A-8EC2-7642-3210B9EB7C8C}"/>
              </a:ext>
            </a:extLst>
          </p:cNvPr>
          <p:cNvSpPr/>
          <p:nvPr/>
        </p:nvSpPr>
        <p:spPr>
          <a:xfrm>
            <a:off x="5418084" y="0"/>
            <a:ext cx="3039296" cy="3659583"/>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2263">
              <a:solidFill>
                <a:schemeClr val="accent6"/>
              </a:solidFill>
            </a:endParaRPr>
          </a:p>
        </p:txBody>
      </p:sp>
      <p:sp>
        <p:nvSpPr>
          <p:cNvPr id="9" name="Free-form: Shape 8">
            <a:extLst>
              <a:ext uri="{FF2B5EF4-FFF2-40B4-BE49-F238E27FC236}">
                <a16:creationId xmlns:a16="http://schemas.microsoft.com/office/drawing/2014/main" id="{DCC001F1-4860-1CC5-8CBC-225BC0A9D236}"/>
              </a:ext>
            </a:extLst>
          </p:cNvPr>
          <p:cNvSpPr/>
          <p:nvPr/>
        </p:nvSpPr>
        <p:spPr>
          <a:xfrm>
            <a:off x="6017272" y="2462353"/>
            <a:ext cx="1201788" cy="1197229"/>
          </a:xfrm>
          <a:custGeom>
            <a:avLst/>
            <a:gdLst>
              <a:gd name="connsiteX0" fmla="*/ 510921 w 1027810"/>
              <a:gd name="connsiteY0" fmla="*/ 1086104 h 1086104"/>
              <a:gd name="connsiteX1" fmla="*/ 1027811 w 1027810"/>
              <a:gd name="connsiteY1" fmla="*/ 0 h 1086104"/>
              <a:gd name="connsiteX2" fmla="*/ 0 w 1027810"/>
              <a:gd name="connsiteY2" fmla="*/ 0 h 1086104"/>
              <a:gd name="connsiteX3" fmla="*/ 510921 w 1027810"/>
              <a:gd name="connsiteY3" fmla="*/ 1086104 h 1086104"/>
            </a:gdLst>
            <a:ahLst/>
            <a:cxnLst>
              <a:cxn ang="0">
                <a:pos x="connsiteX0" y="connsiteY0"/>
              </a:cxn>
              <a:cxn ang="0">
                <a:pos x="connsiteX1" y="connsiteY1"/>
              </a:cxn>
              <a:cxn ang="0">
                <a:pos x="connsiteX2" y="connsiteY2"/>
              </a:cxn>
              <a:cxn ang="0">
                <a:pos x="connsiteX3" y="connsiteY3"/>
              </a:cxn>
            </a:cxnLst>
            <a:rect l="l" t="t" r="r" b="b"/>
            <a:pathLst>
              <a:path w="1027810" h="1086104">
                <a:moveTo>
                  <a:pt x="510921" y="1086104"/>
                </a:moveTo>
                <a:lnTo>
                  <a:pt x="1027811" y="0"/>
                </a:lnTo>
                <a:lnTo>
                  <a:pt x="0" y="0"/>
                </a:lnTo>
                <a:cubicBezTo>
                  <a:pt x="0" y="0"/>
                  <a:pt x="510921" y="1086104"/>
                  <a:pt x="510921" y="1086104"/>
                </a:cubicBezTo>
                <a:close/>
              </a:path>
            </a:pathLst>
          </a:custGeom>
          <a:solidFill>
            <a:srgbClr val="FFFFFF">
              <a:alpha val="30000"/>
            </a:srgbClr>
          </a:solidFill>
          <a:ln w="6350" cap="flat">
            <a:noFill/>
            <a:prstDash val="solid"/>
            <a:miter/>
          </a:ln>
        </p:spPr>
        <p:txBody>
          <a:bodyPr rtlCol="0" anchor="ctr"/>
          <a:lstStyle/>
          <a:p>
            <a:pPr lvl="0"/>
            <a:endParaRPr lang="en-AU" sz="2263">
              <a:solidFill>
                <a:schemeClr val="accent6"/>
              </a:solidFill>
            </a:endParaRPr>
          </a:p>
        </p:txBody>
      </p:sp>
      <p:sp>
        <p:nvSpPr>
          <p:cNvPr id="10" name="Free-form: Shape 9">
            <a:extLst>
              <a:ext uri="{FF2B5EF4-FFF2-40B4-BE49-F238E27FC236}">
                <a16:creationId xmlns:a16="http://schemas.microsoft.com/office/drawing/2014/main" id="{A5B08A13-0E33-5FD8-469F-81F11D14C908}"/>
              </a:ext>
            </a:extLst>
          </p:cNvPr>
          <p:cNvSpPr/>
          <p:nvPr/>
        </p:nvSpPr>
        <p:spPr>
          <a:xfrm>
            <a:off x="4820679" y="2462353"/>
            <a:ext cx="1793997" cy="1197229"/>
          </a:xfrm>
          <a:custGeom>
            <a:avLst/>
            <a:gdLst>
              <a:gd name="connsiteX0" fmla="*/ 1534287 w 1534287"/>
              <a:gd name="connsiteY0" fmla="*/ 1086104 h 1086104"/>
              <a:gd name="connsiteX1" fmla="*/ 1023366 w 1534287"/>
              <a:gd name="connsiteY1" fmla="*/ 0 h 1086104"/>
              <a:gd name="connsiteX2" fmla="*/ 0 w 1534287"/>
              <a:gd name="connsiteY2" fmla="*/ 0 h 1086104"/>
              <a:gd name="connsiteX3" fmla="*/ 510921 w 1534287"/>
              <a:gd name="connsiteY3" fmla="*/ 1086104 h 1086104"/>
              <a:gd name="connsiteX4" fmla="*/ 1534287 w 1534287"/>
              <a:gd name="connsiteY4" fmla="*/ 1086104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1534287" y="1086104"/>
                </a:moveTo>
                <a:lnTo>
                  <a:pt x="1023366" y="0"/>
                </a:lnTo>
                <a:lnTo>
                  <a:pt x="0" y="0"/>
                </a:lnTo>
                <a:cubicBezTo>
                  <a:pt x="0" y="0"/>
                  <a:pt x="510921" y="1086104"/>
                  <a:pt x="510921" y="1086104"/>
                </a:cubicBezTo>
                <a:lnTo>
                  <a:pt x="1534287" y="1086104"/>
                </a:lnTo>
                <a:close/>
              </a:path>
            </a:pathLst>
          </a:custGeom>
          <a:solidFill>
            <a:srgbClr val="FFFFFF">
              <a:alpha val="50000"/>
            </a:srgbClr>
          </a:solidFill>
          <a:ln w="6350" cap="flat">
            <a:noFill/>
            <a:prstDash val="solid"/>
            <a:miter/>
          </a:ln>
        </p:spPr>
        <p:txBody>
          <a:bodyPr rtlCol="0" anchor="ctr"/>
          <a:lstStyle/>
          <a:p>
            <a:pPr lvl="0"/>
            <a:endParaRPr lang="en-AU" sz="2263">
              <a:solidFill>
                <a:schemeClr val="accent6"/>
              </a:solidFill>
            </a:endParaRPr>
          </a:p>
        </p:txBody>
      </p:sp>
      <p:sp>
        <p:nvSpPr>
          <p:cNvPr id="16" name="Free-form: Shape 15">
            <a:extLst>
              <a:ext uri="{FF2B5EF4-FFF2-40B4-BE49-F238E27FC236}">
                <a16:creationId xmlns:a16="http://schemas.microsoft.com/office/drawing/2014/main" id="{E9193096-0970-2A9D-D1E9-19E1B557CC8D}"/>
              </a:ext>
            </a:extLst>
          </p:cNvPr>
          <p:cNvSpPr/>
          <p:nvPr/>
        </p:nvSpPr>
        <p:spPr>
          <a:xfrm>
            <a:off x="6483849" y="5338110"/>
            <a:ext cx="2510052" cy="1954176"/>
          </a:xfrm>
          <a:custGeom>
            <a:avLst/>
            <a:gdLst>
              <a:gd name="connsiteX0" fmla="*/ 841629 w 2146681"/>
              <a:gd name="connsiteY0" fmla="*/ 0 h 1772793"/>
              <a:gd name="connsiteX1" fmla="*/ 185674 w 2146681"/>
              <a:gd name="connsiteY1" fmla="*/ 1381887 h 1772793"/>
              <a:gd name="connsiteX2" fmla="*/ 185674 w 2146681"/>
              <a:gd name="connsiteY2" fmla="*/ 1381887 h 1772793"/>
              <a:gd name="connsiteX3" fmla="*/ 0 w 2146681"/>
              <a:gd name="connsiteY3" fmla="*/ 1772793 h 1772793"/>
              <a:gd name="connsiteX4" fmla="*/ 1305814 w 2146681"/>
              <a:gd name="connsiteY4" fmla="*/ 1772793 h 1772793"/>
              <a:gd name="connsiteX5" fmla="*/ 1491107 w 2146681"/>
              <a:gd name="connsiteY5" fmla="*/ 1381887 h 1772793"/>
              <a:gd name="connsiteX6" fmla="*/ 2146681 w 2146681"/>
              <a:gd name="connsiteY6" fmla="*/ 0 h 1772793"/>
              <a:gd name="connsiteX7" fmla="*/ 841629 w 2146681"/>
              <a:gd name="connsiteY7" fmla="*/ 0 h 177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6681" h="1772793">
                <a:moveTo>
                  <a:pt x="841629" y="0"/>
                </a:moveTo>
                <a:lnTo>
                  <a:pt x="185674" y="1381887"/>
                </a:lnTo>
                <a:lnTo>
                  <a:pt x="185674" y="1381887"/>
                </a:lnTo>
                <a:lnTo>
                  <a:pt x="0" y="1772793"/>
                </a:lnTo>
                <a:lnTo>
                  <a:pt x="1305814" y="1772793"/>
                </a:lnTo>
                <a:lnTo>
                  <a:pt x="1491107" y="1381887"/>
                </a:lnTo>
                <a:lnTo>
                  <a:pt x="2146681" y="0"/>
                </a:lnTo>
                <a:lnTo>
                  <a:pt x="841629" y="0"/>
                </a:lnTo>
                <a:close/>
              </a:path>
            </a:pathLst>
          </a:custGeom>
          <a:solidFill>
            <a:srgbClr val="00B2A9"/>
          </a:solidFill>
          <a:ln w="12695" cap="flat">
            <a:noFill/>
            <a:prstDash val="solid"/>
            <a:miter/>
          </a:ln>
        </p:spPr>
        <p:txBody>
          <a:bodyPr rtlCol="0" anchor="ctr"/>
          <a:lstStyle/>
          <a:p>
            <a:endParaRPr lang="en-AU" sz="2263">
              <a:solidFill>
                <a:schemeClr val="accent6"/>
              </a:solidFill>
            </a:endParaRPr>
          </a:p>
        </p:txBody>
      </p:sp>
      <p:sp>
        <p:nvSpPr>
          <p:cNvPr id="17" name="Free-form: Shape 16">
            <a:extLst>
              <a:ext uri="{FF2B5EF4-FFF2-40B4-BE49-F238E27FC236}">
                <a16:creationId xmlns:a16="http://schemas.microsoft.com/office/drawing/2014/main" id="{F401E06B-775A-30BB-3913-21352C520CFE}"/>
              </a:ext>
            </a:extLst>
          </p:cNvPr>
          <p:cNvSpPr/>
          <p:nvPr/>
        </p:nvSpPr>
        <p:spPr>
          <a:xfrm>
            <a:off x="6700954" y="5338110"/>
            <a:ext cx="1526405" cy="1523273"/>
          </a:xfrm>
          <a:custGeom>
            <a:avLst/>
            <a:gdLst>
              <a:gd name="connsiteX0" fmla="*/ 655955 w 1305433"/>
              <a:gd name="connsiteY0" fmla="*/ 0 h 1381886"/>
              <a:gd name="connsiteX1" fmla="*/ 0 w 1305433"/>
              <a:gd name="connsiteY1" fmla="*/ 1381887 h 1381886"/>
              <a:gd name="connsiteX2" fmla="*/ 1305433 w 1305433"/>
              <a:gd name="connsiteY2" fmla="*/ 1381887 h 1381886"/>
              <a:gd name="connsiteX3" fmla="*/ 655955 w 1305433"/>
              <a:gd name="connsiteY3" fmla="*/ 0 h 1381886"/>
            </a:gdLst>
            <a:ahLst/>
            <a:cxnLst>
              <a:cxn ang="0">
                <a:pos x="connsiteX0" y="connsiteY0"/>
              </a:cxn>
              <a:cxn ang="0">
                <a:pos x="connsiteX1" y="connsiteY1"/>
              </a:cxn>
              <a:cxn ang="0">
                <a:pos x="connsiteX2" y="connsiteY2"/>
              </a:cxn>
              <a:cxn ang="0">
                <a:pos x="connsiteX3" y="connsiteY3"/>
              </a:cxn>
            </a:cxnLst>
            <a:rect l="l" t="t" r="r" b="b"/>
            <a:pathLst>
              <a:path w="1305433" h="1381886">
                <a:moveTo>
                  <a:pt x="655955" y="0"/>
                </a:moveTo>
                <a:lnTo>
                  <a:pt x="0" y="1381887"/>
                </a:lnTo>
                <a:lnTo>
                  <a:pt x="1305433" y="1381887"/>
                </a:lnTo>
                <a:lnTo>
                  <a:pt x="655955" y="0"/>
                </a:lnTo>
                <a:close/>
              </a:path>
            </a:pathLst>
          </a:custGeom>
          <a:solidFill>
            <a:srgbClr val="FFFFFF">
              <a:alpha val="30000"/>
            </a:srgbClr>
          </a:solidFill>
          <a:ln w="6350" cap="flat">
            <a:noFill/>
            <a:prstDash val="solid"/>
            <a:miter/>
          </a:ln>
        </p:spPr>
        <p:txBody>
          <a:bodyPr rtlCol="0" anchor="ctr"/>
          <a:lstStyle/>
          <a:p>
            <a:pPr lvl="0"/>
            <a:endParaRPr lang="en-AU" sz="2263">
              <a:solidFill>
                <a:schemeClr val="accent6"/>
              </a:solidFill>
            </a:endParaRPr>
          </a:p>
        </p:txBody>
      </p:sp>
      <p:sp>
        <p:nvSpPr>
          <p:cNvPr id="18" name="Free-form: Shape 17">
            <a:extLst>
              <a:ext uri="{FF2B5EF4-FFF2-40B4-BE49-F238E27FC236}">
                <a16:creationId xmlns:a16="http://schemas.microsoft.com/office/drawing/2014/main" id="{4A622ED0-B24F-3B6E-F173-57D708F0907F}"/>
              </a:ext>
            </a:extLst>
          </p:cNvPr>
          <p:cNvSpPr/>
          <p:nvPr/>
        </p:nvSpPr>
        <p:spPr>
          <a:xfrm>
            <a:off x="7467943" y="5338110"/>
            <a:ext cx="2285375" cy="1523273"/>
          </a:xfrm>
          <a:custGeom>
            <a:avLst/>
            <a:gdLst>
              <a:gd name="connsiteX0" fmla="*/ 0 w 1954530"/>
              <a:gd name="connsiteY0" fmla="*/ 0 h 1381886"/>
              <a:gd name="connsiteX1" fmla="*/ 649478 w 1954530"/>
              <a:gd name="connsiteY1" fmla="*/ 1381887 h 1381886"/>
              <a:gd name="connsiteX2" fmla="*/ 1954530 w 1954530"/>
              <a:gd name="connsiteY2" fmla="*/ 1381887 h 1381886"/>
              <a:gd name="connsiteX3" fmla="*/ 1305052 w 1954530"/>
              <a:gd name="connsiteY3" fmla="*/ 0 h 1381886"/>
              <a:gd name="connsiteX4" fmla="*/ 0 w 1954530"/>
              <a:gd name="connsiteY4" fmla="*/ 0 h 1381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530" h="1381886">
                <a:moveTo>
                  <a:pt x="0" y="0"/>
                </a:moveTo>
                <a:lnTo>
                  <a:pt x="649478" y="1381887"/>
                </a:lnTo>
                <a:lnTo>
                  <a:pt x="1954530" y="1381887"/>
                </a:lnTo>
                <a:cubicBezTo>
                  <a:pt x="1954530" y="1381887"/>
                  <a:pt x="1305052" y="0"/>
                  <a:pt x="1305052" y="0"/>
                </a:cubicBezTo>
                <a:lnTo>
                  <a:pt x="0" y="0"/>
                </a:lnTo>
                <a:close/>
              </a:path>
            </a:pathLst>
          </a:custGeom>
          <a:solidFill>
            <a:srgbClr val="FFFFFF">
              <a:alpha val="50000"/>
            </a:srgbClr>
          </a:solidFill>
          <a:ln w="6350" cap="flat">
            <a:noFill/>
            <a:prstDash val="solid"/>
            <a:miter/>
          </a:ln>
        </p:spPr>
        <p:txBody>
          <a:bodyPr rtlCol="0" anchor="ctr"/>
          <a:lstStyle/>
          <a:p>
            <a:pPr lvl="0"/>
            <a:endParaRPr lang="en-AU" sz="2263">
              <a:solidFill>
                <a:schemeClr val="accent6"/>
              </a:solidFill>
            </a:endParaRPr>
          </a:p>
        </p:txBody>
      </p:sp>
      <p:sp>
        <p:nvSpPr>
          <p:cNvPr id="19" name="Free-form: Shape 18">
            <a:extLst>
              <a:ext uri="{FF2B5EF4-FFF2-40B4-BE49-F238E27FC236}">
                <a16:creationId xmlns:a16="http://schemas.microsoft.com/office/drawing/2014/main" id="{08AA25C4-22B1-CB03-84BA-7BD988A74B2E}"/>
              </a:ext>
            </a:extLst>
          </p:cNvPr>
          <p:cNvSpPr/>
          <p:nvPr/>
        </p:nvSpPr>
        <p:spPr>
          <a:xfrm>
            <a:off x="6350202" y="6861384"/>
            <a:ext cx="1877156" cy="698290"/>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2263">
              <a:solidFill>
                <a:schemeClr val="accent6"/>
              </a:solidFill>
            </a:endParaRPr>
          </a:p>
        </p:txBody>
      </p:sp>
      <p:pic>
        <p:nvPicPr>
          <p:cNvPr id="20" name="Graphic 19">
            <a:extLst>
              <a:ext uri="{FF2B5EF4-FFF2-40B4-BE49-F238E27FC236}">
                <a16:creationId xmlns:a16="http://schemas.microsoft.com/office/drawing/2014/main" id="{71028729-A80B-CFBD-7F6F-30AE3409850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07087" y="997347"/>
            <a:ext cx="1961508" cy="567943"/>
          </a:xfrm>
          <a:prstGeom prst="rect">
            <a:avLst/>
          </a:prstGeom>
        </p:spPr>
      </p:pic>
      <p:sp>
        <p:nvSpPr>
          <p:cNvPr id="23" name="Footer Placeholder 22">
            <a:extLst>
              <a:ext uri="{FF2B5EF4-FFF2-40B4-BE49-F238E27FC236}">
                <a16:creationId xmlns:a16="http://schemas.microsoft.com/office/drawing/2014/main" id="{033E79D6-E595-ECEE-10ED-A5E97240EFF9}"/>
              </a:ext>
            </a:extLst>
          </p:cNvPr>
          <p:cNvSpPr>
            <a:spLocks noGrp="1"/>
          </p:cNvSpPr>
          <p:nvPr>
            <p:ph type="ftr" sz="quarter" idx="11"/>
          </p:nvPr>
        </p:nvSpPr>
        <p:spPr/>
        <p:txBody>
          <a:bodyPr/>
          <a:lstStyle>
            <a:lvl1pPr>
              <a:defRPr>
                <a:solidFill>
                  <a:schemeClr val="accent6"/>
                </a:solidFill>
              </a:defRPr>
            </a:lvl1pPr>
          </a:lstStyle>
          <a:p>
            <a:r>
              <a:rPr lang="en-GB"/>
              <a:t>To add a Footer, select 'Insert &gt; Header &amp; Footer'</a:t>
            </a:r>
            <a:endParaRPr lang="en-GB" dirty="0"/>
          </a:p>
        </p:txBody>
      </p:sp>
      <p:sp>
        <p:nvSpPr>
          <p:cNvPr id="25" name="Slide Number Placeholder 24">
            <a:extLst>
              <a:ext uri="{FF2B5EF4-FFF2-40B4-BE49-F238E27FC236}">
                <a16:creationId xmlns:a16="http://schemas.microsoft.com/office/drawing/2014/main" id="{EB24A637-B2FA-CB5F-8581-6598E9C59D96}"/>
              </a:ext>
            </a:extLst>
          </p:cNvPr>
          <p:cNvSpPr>
            <a:spLocks noGrp="1"/>
          </p:cNvSpPr>
          <p:nvPr>
            <p:ph type="sldNum" sz="quarter" idx="12"/>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dirty="0"/>
          </a:p>
        </p:txBody>
      </p:sp>
      <p:cxnSp>
        <p:nvCxnSpPr>
          <p:cNvPr id="27" name="Straight Connector 26">
            <a:extLst>
              <a:ext uri="{FF2B5EF4-FFF2-40B4-BE49-F238E27FC236}">
                <a16:creationId xmlns:a16="http://schemas.microsoft.com/office/drawing/2014/main" id="{6F0F89C6-5D9B-55DA-9539-83F396DFFBA1}"/>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64101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5960402-3C59-568B-8720-CD2471B44F32}"/>
              </a:ext>
            </a:extLst>
          </p:cNvPr>
          <p:cNvGraphicFramePr>
            <a:graphicFrameLocks noChangeAspect="1"/>
          </p:cNvGraphicFramePr>
          <p:nvPr userDrawn="1">
            <p:custDataLst>
              <p:tags r:id="rId1"/>
            </p:custDataLst>
            <p:extLst>
              <p:ext uri="{D42A27DB-BD31-4B8C-83A1-F6EECF244321}">
                <p14:modId xmlns:p14="http://schemas.microsoft.com/office/powerpoint/2010/main" val="3536758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75960402-3C59-568B-8720-CD2471B44F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9DCD4D52-32FF-7771-2B69-3EB01C06E1EC}"/>
              </a:ext>
            </a:extLst>
          </p:cNvPr>
          <p:cNvSpPr/>
          <p:nvPr userDrawn="1"/>
        </p:nvSpPr>
        <p:spPr>
          <a:xfrm>
            <a:off x="2169552" y="396000"/>
            <a:ext cx="8522261" cy="11921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Rectangle 5">
            <a:extLst>
              <a:ext uri="{FF2B5EF4-FFF2-40B4-BE49-F238E27FC236}">
                <a16:creationId xmlns:a16="http://schemas.microsoft.com/office/drawing/2014/main" id="{951874C9-BD4A-2FF8-B7A5-097B4A40F58E}"/>
              </a:ext>
            </a:extLst>
          </p:cNvPr>
          <p:cNvSpPr/>
          <p:nvPr userDrawn="1"/>
        </p:nvSpPr>
        <p:spPr>
          <a:xfrm>
            <a:off x="0" y="0"/>
            <a:ext cx="10693400" cy="39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Rectangle 20">
            <a:extLst>
              <a:ext uri="{FF2B5EF4-FFF2-40B4-BE49-F238E27FC236}">
                <a16:creationId xmlns:a16="http://schemas.microsoft.com/office/drawing/2014/main" id="{C782174C-E7A6-1F39-19D1-252B5ECF336D}"/>
              </a:ext>
            </a:extLst>
          </p:cNvPr>
          <p:cNvSpPr/>
          <p:nvPr userDrawn="1"/>
        </p:nvSpPr>
        <p:spPr>
          <a:xfrm>
            <a:off x="0" y="1"/>
            <a:ext cx="10693400" cy="39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2" name="Slide Number Placeholder 3">
            <a:extLst>
              <a:ext uri="{FF2B5EF4-FFF2-40B4-BE49-F238E27FC236}">
                <a16:creationId xmlns:a16="http://schemas.microsoft.com/office/drawing/2014/main" id="{596A8BCD-102A-BAB4-CBD4-9A80ECA686E2}"/>
              </a:ext>
            </a:extLst>
          </p:cNvPr>
          <p:cNvSpPr>
            <a:spLocks noGrp="1"/>
          </p:cNvSpPr>
          <p:nvPr>
            <p:ph type="sldNum" sz="quarter" idx="4"/>
          </p:nvPr>
        </p:nvSpPr>
        <p:spPr>
          <a:xfrm>
            <a:off x="432000" y="1"/>
            <a:ext cx="360000" cy="396000"/>
          </a:xfrm>
          <a:prstGeom prst="rect">
            <a:avLst/>
          </a:prstGeom>
        </p:spPr>
        <p:txBody>
          <a:bodyPr lIns="0" rIns="0" anchor="ctr" anchorCtr="0"/>
          <a:lstStyle>
            <a:lvl1pPr algn="r">
              <a:defRPr sz="1100">
                <a:solidFill>
                  <a:srgbClr val="FFFFFF"/>
                </a:solidFill>
              </a:defRPr>
            </a:lvl1pPr>
          </a:lstStyle>
          <a:p>
            <a:pPr algn="l"/>
            <a:fld id="{48F63A3B-78C7-47BE-AE5E-E10140E04643}" type="slidenum">
              <a:rPr lang="en-US" smtClean="0"/>
              <a:pPr algn="l"/>
              <a:t>‹#›</a:t>
            </a:fld>
            <a:endParaRPr lang="en-US"/>
          </a:p>
        </p:txBody>
      </p:sp>
      <p:sp>
        <p:nvSpPr>
          <p:cNvPr id="53" name="Freeform 6">
            <a:hlinkClick r:id="rId5" action="ppaction://hlinksldjump"/>
            <a:extLst>
              <a:ext uri="{FF2B5EF4-FFF2-40B4-BE49-F238E27FC236}">
                <a16:creationId xmlns:a16="http://schemas.microsoft.com/office/drawing/2014/main" id="{001CAD53-1FB2-DBE9-5E14-8DDF17AD1F4F}"/>
              </a:ext>
            </a:extLst>
          </p:cNvPr>
          <p:cNvSpPr>
            <a:spLocks noChangeAspect="1" noEditPoints="1"/>
          </p:cNvSpPr>
          <p:nvPr userDrawn="1"/>
        </p:nvSpPr>
        <p:spPr bwMode="auto">
          <a:xfrm>
            <a:off x="1675466" y="90000"/>
            <a:ext cx="223755" cy="216000"/>
          </a:xfrm>
          <a:custGeom>
            <a:avLst/>
            <a:gdLst>
              <a:gd name="T0" fmla="*/ 170 w 171"/>
              <a:gd name="T1" fmla="*/ 80 h 165"/>
              <a:gd name="T2" fmla="*/ 169 w 171"/>
              <a:gd name="T3" fmla="*/ 80 h 165"/>
              <a:gd name="T4" fmla="*/ 87 w 171"/>
              <a:gd name="T5" fmla="*/ 1 h 165"/>
              <a:gd name="T6" fmla="*/ 87 w 171"/>
              <a:gd name="T7" fmla="*/ 0 h 165"/>
              <a:gd name="T8" fmla="*/ 82 w 171"/>
              <a:gd name="T9" fmla="*/ 0 h 165"/>
              <a:gd name="T10" fmla="*/ 0 w 171"/>
              <a:gd name="T11" fmla="*/ 80 h 165"/>
              <a:gd name="T12" fmla="*/ 0 w 171"/>
              <a:gd name="T13" fmla="*/ 80 h 165"/>
              <a:gd name="T14" fmla="*/ 0 w 171"/>
              <a:gd name="T15" fmla="*/ 82 h 165"/>
              <a:gd name="T16" fmla="*/ 3 w 171"/>
              <a:gd name="T17" fmla="*/ 85 h 165"/>
              <a:gd name="T18" fmla="*/ 5 w 171"/>
              <a:gd name="T19" fmla="*/ 85 h 165"/>
              <a:gd name="T20" fmla="*/ 22 w 171"/>
              <a:gd name="T21" fmla="*/ 68 h 165"/>
              <a:gd name="T22" fmla="*/ 22 w 171"/>
              <a:gd name="T23" fmla="*/ 162 h 165"/>
              <a:gd name="T24" fmla="*/ 26 w 171"/>
              <a:gd name="T25" fmla="*/ 165 h 165"/>
              <a:gd name="T26" fmla="*/ 143 w 171"/>
              <a:gd name="T27" fmla="*/ 165 h 165"/>
              <a:gd name="T28" fmla="*/ 147 w 171"/>
              <a:gd name="T29" fmla="*/ 162 h 165"/>
              <a:gd name="T30" fmla="*/ 147 w 171"/>
              <a:gd name="T31" fmla="*/ 68 h 165"/>
              <a:gd name="T32" fmla="*/ 164 w 171"/>
              <a:gd name="T33" fmla="*/ 85 h 165"/>
              <a:gd name="T34" fmla="*/ 164 w 171"/>
              <a:gd name="T35" fmla="*/ 85 h 165"/>
              <a:gd name="T36" fmla="*/ 168 w 171"/>
              <a:gd name="T37" fmla="*/ 85 h 165"/>
              <a:gd name="T38" fmla="*/ 171 w 171"/>
              <a:gd name="T39" fmla="*/ 82 h 165"/>
              <a:gd name="T40" fmla="*/ 170 w 171"/>
              <a:gd name="T41" fmla="*/ 80 h 165"/>
              <a:gd name="T42" fmla="*/ 101 w 171"/>
              <a:gd name="T43" fmla="*/ 96 h 165"/>
              <a:gd name="T44" fmla="*/ 101 w 171"/>
              <a:gd name="T45" fmla="*/ 158 h 165"/>
              <a:gd name="T46" fmla="*/ 68 w 171"/>
              <a:gd name="T47" fmla="*/ 158 h 165"/>
              <a:gd name="T48" fmla="*/ 68 w 171"/>
              <a:gd name="T49" fmla="*/ 96 h 165"/>
              <a:gd name="T50" fmla="*/ 101 w 171"/>
              <a:gd name="T51" fmla="*/ 96 h 165"/>
              <a:gd name="T52" fmla="*/ 104 w 171"/>
              <a:gd name="T53" fmla="*/ 90 h 165"/>
              <a:gd name="T54" fmla="*/ 65 w 171"/>
              <a:gd name="T55" fmla="*/ 90 h 165"/>
              <a:gd name="T56" fmla="*/ 62 w 171"/>
              <a:gd name="T57" fmla="*/ 93 h 165"/>
              <a:gd name="T58" fmla="*/ 62 w 171"/>
              <a:gd name="T59" fmla="*/ 158 h 165"/>
              <a:gd name="T60" fmla="*/ 29 w 171"/>
              <a:gd name="T61" fmla="*/ 158 h 165"/>
              <a:gd name="T62" fmla="*/ 29 w 171"/>
              <a:gd name="T63" fmla="*/ 61 h 165"/>
              <a:gd name="T64" fmla="*/ 86 w 171"/>
              <a:gd name="T65" fmla="*/ 9 h 165"/>
              <a:gd name="T66" fmla="*/ 140 w 171"/>
              <a:gd name="T67" fmla="*/ 61 h 165"/>
              <a:gd name="T68" fmla="*/ 140 w 171"/>
              <a:gd name="T69" fmla="*/ 158 h 165"/>
              <a:gd name="T70" fmla="*/ 108 w 171"/>
              <a:gd name="T71" fmla="*/ 158 h 165"/>
              <a:gd name="T72" fmla="*/ 108 w 171"/>
              <a:gd name="T73" fmla="*/ 93 h 165"/>
              <a:gd name="T74" fmla="*/ 104 w 171"/>
              <a:gd name="T75" fmla="*/ 9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1" h="165">
                <a:moveTo>
                  <a:pt x="170" y="80"/>
                </a:moveTo>
                <a:cubicBezTo>
                  <a:pt x="169" y="80"/>
                  <a:pt x="169" y="80"/>
                  <a:pt x="169" y="80"/>
                </a:cubicBezTo>
                <a:cubicBezTo>
                  <a:pt x="87" y="1"/>
                  <a:pt x="87" y="1"/>
                  <a:pt x="87" y="1"/>
                </a:cubicBezTo>
                <a:cubicBezTo>
                  <a:pt x="87" y="0"/>
                  <a:pt x="87" y="0"/>
                  <a:pt x="87" y="0"/>
                </a:cubicBezTo>
                <a:cubicBezTo>
                  <a:pt x="82" y="0"/>
                  <a:pt x="82" y="0"/>
                  <a:pt x="82" y="0"/>
                </a:cubicBezTo>
                <a:cubicBezTo>
                  <a:pt x="0" y="80"/>
                  <a:pt x="0" y="80"/>
                  <a:pt x="0" y="80"/>
                </a:cubicBezTo>
                <a:cubicBezTo>
                  <a:pt x="0" y="80"/>
                  <a:pt x="0" y="80"/>
                  <a:pt x="0" y="80"/>
                </a:cubicBezTo>
                <a:cubicBezTo>
                  <a:pt x="0" y="82"/>
                  <a:pt x="0" y="82"/>
                  <a:pt x="0" y="82"/>
                </a:cubicBezTo>
                <a:cubicBezTo>
                  <a:pt x="0" y="84"/>
                  <a:pt x="0" y="85"/>
                  <a:pt x="3" y="85"/>
                </a:cubicBezTo>
                <a:cubicBezTo>
                  <a:pt x="5" y="85"/>
                  <a:pt x="5" y="85"/>
                  <a:pt x="5" y="85"/>
                </a:cubicBezTo>
                <a:cubicBezTo>
                  <a:pt x="22" y="68"/>
                  <a:pt x="22" y="68"/>
                  <a:pt x="22" y="68"/>
                </a:cubicBezTo>
                <a:cubicBezTo>
                  <a:pt x="22" y="162"/>
                  <a:pt x="22" y="162"/>
                  <a:pt x="22" y="162"/>
                </a:cubicBezTo>
                <a:cubicBezTo>
                  <a:pt x="22" y="163"/>
                  <a:pt x="24" y="165"/>
                  <a:pt x="26" y="165"/>
                </a:cubicBezTo>
                <a:cubicBezTo>
                  <a:pt x="143" y="165"/>
                  <a:pt x="143" y="165"/>
                  <a:pt x="143" y="165"/>
                </a:cubicBezTo>
                <a:cubicBezTo>
                  <a:pt x="145" y="165"/>
                  <a:pt x="147" y="163"/>
                  <a:pt x="147" y="162"/>
                </a:cubicBezTo>
                <a:cubicBezTo>
                  <a:pt x="147" y="68"/>
                  <a:pt x="147" y="68"/>
                  <a:pt x="147" y="68"/>
                </a:cubicBezTo>
                <a:cubicBezTo>
                  <a:pt x="164" y="85"/>
                  <a:pt x="164" y="85"/>
                  <a:pt x="164" y="85"/>
                </a:cubicBezTo>
                <a:cubicBezTo>
                  <a:pt x="164" y="85"/>
                  <a:pt x="164" y="85"/>
                  <a:pt x="164" y="85"/>
                </a:cubicBezTo>
                <a:cubicBezTo>
                  <a:pt x="168" y="85"/>
                  <a:pt x="168" y="85"/>
                  <a:pt x="168" y="85"/>
                </a:cubicBezTo>
                <a:cubicBezTo>
                  <a:pt x="169" y="85"/>
                  <a:pt x="171" y="83"/>
                  <a:pt x="171" y="82"/>
                </a:cubicBezTo>
                <a:cubicBezTo>
                  <a:pt x="171" y="81"/>
                  <a:pt x="171" y="80"/>
                  <a:pt x="170" y="80"/>
                </a:cubicBezTo>
                <a:close/>
                <a:moveTo>
                  <a:pt x="101" y="96"/>
                </a:moveTo>
                <a:cubicBezTo>
                  <a:pt x="101" y="158"/>
                  <a:pt x="101" y="158"/>
                  <a:pt x="101" y="158"/>
                </a:cubicBezTo>
                <a:cubicBezTo>
                  <a:pt x="68" y="158"/>
                  <a:pt x="68" y="158"/>
                  <a:pt x="68" y="158"/>
                </a:cubicBezTo>
                <a:cubicBezTo>
                  <a:pt x="68" y="96"/>
                  <a:pt x="68" y="96"/>
                  <a:pt x="68" y="96"/>
                </a:cubicBezTo>
                <a:lnTo>
                  <a:pt x="101" y="96"/>
                </a:lnTo>
                <a:close/>
                <a:moveTo>
                  <a:pt x="104" y="90"/>
                </a:moveTo>
                <a:cubicBezTo>
                  <a:pt x="65" y="90"/>
                  <a:pt x="65" y="90"/>
                  <a:pt x="65" y="90"/>
                </a:cubicBezTo>
                <a:cubicBezTo>
                  <a:pt x="63" y="90"/>
                  <a:pt x="62" y="91"/>
                  <a:pt x="62" y="93"/>
                </a:cubicBezTo>
                <a:cubicBezTo>
                  <a:pt x="62" y="158"/>
                  <a:pt x="62" y="158"/>
                  <a:pt x="62" y="158"/>
                </a:cubicBezTo>
                <a:cubicBezTo>
                  <a:pt x="29" y="158"/>
                  <a:pt x="29" y="158"/>
                  <a:pt x="29" y="158"/>
                </a:cubicBezTo>
                <a:cubicBezTo>
                  <a:pt x="29" y="61"/>
                  <a:pt x="29" y="61"/>
                  <a:pt x="29" y="61"/>
                </a:cubicBezTo>
                <a:cubicBezTo>
                  <a:pt x="86" y="9"/>
                  <a:pt x="86" y="9"/>
                  <a:pt x="86" y="9"/>
                </a:cubicBezTo>
                <a:cubicBezTo>
                  <a:pt x="140" y="61"/>
                  <a:pt x="140" y="61"/>
                  <a:pt x="140" y="61"/>
                </a:cubicBezTo>
                <a:cubicBezTo>
                  <a:pt x="140" y="158"/>
                  <a:pt x="140" y="158"/>
                  <a:pt x="140" y="158"/>
                </a:cubicBezTo>
                <a:cubicBezTo>
                  <a:pt x="108" y="158"/>
                  <a:pt x="108" y="158"/>
                  <a:pt x="108" y="158"/>
                </a:cubicBezTo>
                <a:cubicBezTo>
                  <a:pt x="108" y="93"/>
                  <a:pt x="108" y="93"/>
                  <a:pt x="108" y="93"/>
                </a:cubicBezTo>
                <a:cubicBezTo>
                  <a:pt x="108" y="91"/>
                  <a:pt x="106" y="90"/>
                  <a:pt x="104" y="9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AU"/>
          </a:p>
        </p:txBody>
      </p:sp>
      <p:sp>
        <p:nvSpPr>
          <p:cNvPr id="54" name="Freeform 25">
            <a:hlinkClick r:id="" action="ppaction://hlinkshowjump?jump=previousslide"/>
            <a:extLst>
              <a:ext uri="{FF2B5EF4-FFF2-40B4-BE49-F238E27FC236}">
                <a16:creationId xmlns:a16="http://schemas.microsoft.com/office/drawing/2014/main" id="{30ACECAC-1116-99AB-A92A-CC4985842D57}"/>
              </a:ext>
            </a:extLst>
          </p:cNvPr>
          <p:cNvSpPr>
            <a:spLocks noChangeAspect="1" noEditPoints="1"/>
          </p:cNvSpPr>
          <p:nvPr userDrawn="1"/>
        </p:nvSpPr>
        <p:spPr bwMode="auto">
          <a:xfrm>
            <a:off x="853682" y="108000"/>
            <a:ext cx="198000" cy="198000"/>
          </a:xfrm>
          <a:custGeom>
            <a:avLst/>
            <a:gdLst>
              <a:gd name="T0" fmla="*/ 162 w 170"/>
              <a:gd name="T1" fmla="*/ 155 h 170"/>
              <a:gd name="T2" fmla="*/ 154 w 170"/>
              <a:gd name="T3" fmla="*/ 162 h 170"/>
              <a:gd name="T4" fmla="*/ 15 w 170"/>
              <a:gd name="T5" fmla="*/ 162 h 170"/>
              <a:gd name="T6" fmla="*/ 7 w 170"/>
              <a:gd name="T7" fmla="*/ 155 h 170"/>
              <a:gd name="T8" fmla="*/ 7 w 170"/>
              <a:gd name="T9" fmla="*/ 16 h 170"/>
              <a:gd name="T10" fmla="*/ 15 w 170"/>
              <a:gd name="T11" fmla="*/ 8 h 170"/>
              <a:gd name="T12" fmla="*/ 154 w 170"/>
              <a:gd name="T13" fmla="*/ 8 h 170"/>
              <a:gd name="T14" fmla="*/ 162 w 170"/>
              <a:gd name="T15" fmla="*/ 16 h 170"/>
              <a:gd name="T16" fmla="*/ 162 w 170"/>
              <a:gd name="T17" fmla="*/ 155 h 170"/>
              <a:gd name="T18" fmla="*/ 154 w 170"/>
              <a:gd name="T19" fmla="*/ 0 h 170"/>
              <a:gd name="T20" fmla="*/ 15 w 170"/>
              <a:gd name="T21" fmla="*/ 0 h 170"/>
              <a:gd name="T22" fmla="*/ 0 w 170"/>
              <a:gd name="T23" fmla="*/ 16 h 170"/>
              <a:gd name="T24" fmla="*/ 0 w 170"/>
              <a:gd name="T25" fmla="*/ 155 h 170"/>
              <a:gd name="T26" fmla="*/ 15 w 170"/>
              <a:gd name="T27" fmla="*/ 170 h 170"/>
              <a:gd name="T28" fmla="*/ 154 w 170"/>
              <a:gd name="T29" fmla="*/ 170 h 170"/>
              <a:gd name="T30" fmla="*/ 170 w 170"/>
              <a:gd name="T31" fmla="*/ 155 h 170"/>
              <a:gd name="T32" fmla="*/ 170 w 170"/>
              <a:gd name="T33" fmla="*/ 16 h 170"/>
              <a:gd name="T34" fmla="*/ 154 w 170"/>
              <a:gd name="T35" fmla="*/ 0 h 170"/>
              <a:gd name="T36" fmla="*/ 96 w 170"/>
              <a:gd name="T37" fmla="*/ 39 h 170"/>
              <a:gd name="T38" fmla="*/ 93 w 170"/>
              <a:gd name="T39" fmla="*/ 40 h 170"/>
              <a:gd name="T40" fmla="*/ 93 w 170"/>
              <a:gd name="T41" fmla="*/ 40 h 170"/>
              <a:gd name="T42" fmla="*/ 55 w 170"/>
              <a:gd name="T43" fmla="*/ 82 h 170"/>
              <a:gd name="T44" fmla="*/ 55 w 170"/>
              <a:gd name="T45" fmla="*/ 83 h 170"/>
              <a:gd name="T46" fmla="*/ 54 w 170"/>
              <a:gd name="T47" fmla="*/ 85 h 170"/>
              <a:gd name="T48" fmla="*/ 55 w 170"/>
              <a:gd name="T49" fmla="*/ 88 h 170"/>
              <a:gd name="T50" fmla="*/ 55 w 170"/>
              <a:gd name="T51" fmla="*/ 88 h 170"/>
              <a:gd name="T52" fmla="*/ 93 w 170"/>
              <a:gd name="T53" fmla="*/ 130 h 170"/>
              <a:gd name="T54" fmla="*/ 93 w 170"/>
              <a:gd name="T55" fmla="*/ 130 h 170"/>
              <a:gd name="T56" fmla="*/ 96 w 170"/>
              <a:gd name="T57" fmla="*/ 131 h 170"/>
              <a:gd name="T58" fmla="*/ 100 w 170"/>
              <a:gd name="T59" fmla="*/ 128 h 170"/>
              <a:gd name="T60" fmla="*/ 99 w 170"/>
              <a:gd name="T61" fmla="*/ 125 h 170"/>
              <a:gd name="T62" fmla="*/ 99 w 170"/>
              <a:gd name="T63" fmla="*/ 125 h 170"/>
              <a:gd name="T64" fmla="*/ 63 w 170"/>
              <a:gd name="T65" fmla="*/ 85 h 170"/>
              <a:gd name="T66" fmla="*/ 99 w 170"/>
              <a:gd name="T67" fmla="*/ 45 h 170"/>
              <a:gd name="T68" fmla="*/ 99 w 170"/>
              <a:gd name="T69" fmla="*/ 45 h 170"/>
              <a:gd name="T70" fmla="*/ 100 w 170"/>
              <a:gd name="T71" fmla="*/ 43 h 170"/>
              <a:gd name="T72" fmla="*/ 96 w 170"/>
              <a:gd name="T73" fmla="*/ 3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0" h="170">
                <a:moveTo>
                  <a:pt x="162" y="155"/>
                </a:moveTo>
                <a:cubicBezTo>
                  <a:pt x="162" y="159"/>
                  <a:pt x="158" y="162"/>
                  <a:pt x="154" y="162"/>
                </a:cubicBezTo>
                <a:cubicBezTo>
                  <a:pt x="15" y="162"/>
                  <a:pt x="15" y="162"/>
                  <a:pt x="15" y="162"/>
                </a:cubicBezTo>
                <a:cubicBezTo>
                  <a:pt x="11" y="162"/>
                  <a:pt x="7" y="159"/>
                  <a:pt x="7" y="155"/>
                </a:cubicBezTo>
                <a:cubicBezTo>
                  <a:pt x="7" y="16"/>
                  <a:pt x="7" y="16"/>
                  <a:pt x="7" y="16"/>
                </a:cubicBezTo>
                <a:cubicBezTo>
                  <a:pt x="7" y="11"/>
                  <a:pt x="11" y="8"/>
                  <a:pt x="15" y="8"/>
                </a:cubicBezTo>
                <a:cubicBezTo>
                  <a:pt x="154" y="8"/>
                  <a:pt x="154" y="8"/>
                  <a:pt x="154" y="8"/>
                </a:cubicBezTo>
                <a:cubicBezTo>
                  <a:pt x="158" y="8"/>
                  <a:pt x="162" y="11"/>
                  <a:pt x="162" y="16"/>
                </a:cubicBezTo>
                <a:cubicBezTo>
                  <a:pt x="162" y="155"/>
                  <a:pt x="162" y="155"/>
                  <a:pt x="162" y="155"/>
                </a:cubicBezTo>
                <a:close/>
                <a:moveTo>
                  <a:pt x="154" y="0"/>
                </a:moveTo>
                <a:cubicBezTo>
                  <a:pt x="15" y="0"/>
                  <a:pt x="15" y="0"/>
                  <a:pt x="15" y="0"/>
                </a:cubicBezTo>
                <a:cubicBezTo>
                  <a:pt x="7" y="0"/>
                  <a:pt x="0" y="7"/>
                  <a:pt x="0" y="16"/>
                </a:cubicBezTo>
                <a:cubicBezTo>
                  <a:pt x="0" y="155"/>
                  <a:pt x="0" y="155"/>
                  <a:pt x="0" y="155"/>
                </a:cubicBezTo>
                <a:cubicBezTo>
                  <a:pt x="0" y="163"/>
                  <a:pt x="7" y="170"/>
                  <a:pt x="15" y="170"/>
                </a:cubicBezTo>
                <a:cubicBezTo>
                  <a:pt x="154" y="170"/>
                  <a:pt x="154" y="170"/>
                  <a:pt x="154" y="170"/>
                </a:cubicBezTo>
                <a:cubicBezTo>
                  <a:pt x="163" y="170"/>
                  <a:pt x="170" y="163"/>
                  <a:pt x="170" y="155"/>
                </a:cubicBezTo>
                <a:cubicBezTo>
                  <a:pt x="170" y="16"/>
                  <a:pt x="170" y="16"/>
                  <a:pt x="170" y="16"/>
                </a:cubicBezTo>
                <a:cubicBezTo>
                  <a:pt x="170" y="7"/>
                  <a:pt x="163" y="0"/>
                  <a:pt x="154" y="0"/>
                </a:cubicBezTo>
                <a:moveTo>
                  <a:pt x="96" y="39"/>
                </a:moveTo>
                <a:cubicBezTo>
                  <a:pt x="95" y="39"/>
                  <a:pt x="94" y="39"/>
                  <a:pt x="93" y="40"/>
                </a:cubicBezTo>
                <a:cubicBezTo>
                  <a:pt x="93" y="40"/>
                  <a:pt x="93" y="40"/>
                  <a:pt x="93" y="40"/>
                </a:cubicBezTo>
                <a:cubicBezTo>
                  <a:pt x="55" y="82"/>
                  <a:pt x="55" y="82"/>
                  <a:pt x="55" y="82"/>
                </a:cubicBezTo>
                <a:cubicBezTo>
                  <a:pt x="55" y="83"/>
                  <a:pt x="55" y="83"/>
                  <a:pt x="55" y="83"/>
                </a:cubicBezTo>
                <a:cubicBezTo>
                  <a:pt x="54" y="83"/>
                  <a:pt x="54" y="84"/>
                  <a:pt x="54" y="85"/>
                </a:cubicBezTo>
                <a:cubicBezTo>
                  <a:pt x="54" y="86"/>
                  <a:pt x="54" y="87"/>
                  <a:pt x="55" y="88"/>
                </a:cubicBezTo>
                <a:cubicBezTo>
                  <a:pt x="55" y="88"/>
                  <a:pt x="55" y="88"/>
                  <a:pt x="55" y="88"/>
                </a:cubicBezTo>
                <a:cubicBezTo>
                  <a:pt x="93" y="130"/>
                  <a:pt x="93" y="130"/>
                  <a:pt x="93" y="130"/>
                </a:cubicBezTo>
                <a:cubicBezTo>
                  <a:pt x="93" y="130"/>
                  <a:pt x="93" y="130"/>
                  <a:pt x="93" y="130"/>
                </a:cubicBezTo>
                <a:cubicBezTo>
                  <a:pt x="94" y="131"/>
                  <a:pt x="95" y="131"/>
                  <a:pt x="96" y="131"/>
                </a:cubicBezTo>
                <a:cubicBezTo>
                  <a:pt x="98" y="131"/>
                  <a:pt x="100" y="130"/>
                  <a:pt x="100" y="128"/>
                </a:cubicBezTo>
                <a:cubicBezTo>
                  <a:pt x="100" y="127"/>
                  <a:pt x="100" y="126"/>
                  <a:pt x="99" y="125"/>
                </a:cubicBezTo>
                <a:cubicBezTo>
                  <a:pt x="99" y="125"/>
                  <a:pt x="99" y="125"/>
                  <a:pt x="99" y="125"/>
                </a:cubicBezTo>
                <a:cubicBezTo>
                  <a:pt x="63" y="85"/>
                  <a:pt x="63" y="85"/>
                  <a:pt x="63" y="85"/>
                </a:cubicBezTo>
                <a:cubicBezTo>
                  <a:pt x="99" y="45"/>
                  <a:pt x="99" y="45"/>
                  <a:pt x="99" y="45"/>
                </a:cubicBezTo>
                <a:cubicBezTo>
                  <a:pt x="99" y="45"/>
                  <a:pt x="99" y="45"/>
                  <a:pt x="99" y="45"/>
                </a:cubicBezTo>
                <a:cubicBezTo>
                  <a:pt x="100" y="44"/>
                  <a:pt x="100" y="44"/>
                  <a:pt x="100" y="43"/>
                </a:cubicBezTo>
                <a:cubicBezTo>
                  <a:pt x="100" y="40"/>
                  <a:pt x="98" y="39"/>
                  <a:pt x="96" y="39"/>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AU"/>
          </a:p>
        </p:txBody>
      </p:sp>
      <p:sp>
        <p:nvSpPr>
          <p:cNvPr id="55" name="Freeform 26">
            <a:hlinkClick r:id="" action="ppaction://hlinkshowjump?jump=nextslide"/>
            <a:extLst>
              <a:ext uri="{FF2B5EF4-FFF2-40B4-BE49-F238E27FC236}">
                <a16:creationId xmlns:a16="http://schemas.microsoft.com/office/drawing/2014/main" id="{1BE5C1A1-8F09-B1B9-34F3-D749447783F1}"/>
              </a:ext>
            </a:extLst>
          </p:cNvPr>
          <p:cNvSpPr>
            <a:spLocks noChangeAspect="1" noEditPoints="1"/>
          </p:cNvSpPr>
          <p:nvPr userDrawn="1"/>
        </p:nvSpPr>
        <p:spPr bwMode="auto">
          <a:xfrm>
            <a:off x="1264574" y="108000"/>
            <a:ext cx="198000" cy="198000"/>
          </a:xfrm>
          <a:custGeom>
            <a:avLst/>
            <a:gdLst>
              <a:gd name="T0" fmla="*/ 162 w 170"/>
              <a:gd name="T1" fmla="*/ 155 h 170"/>
              <a:gd name="T2" fmla="*/ 154 w 170"/>
              <a:gd name="T3" fmla="*/ 162 h 170"/>
              <a:gd name="T4" fmla="*/ 15 w 170"/>
              <a:gd name="T5" fmla="*/ 162 h 170"/>
              <a:gd name="T6" fmla="*/ 7 w 170"/>
              <a:gd name="T7" fmla="*/ 155 h 170"/>
              <a:gd name="T8" fmla="*/ 7 w 170"/>
              <a:gd name="T9" fmla="*/ 16 h 170"/>
              <a:gd name="T10" fmla="*/ 15 w 170"/>
              <a:gd name="T11" fmla="*/ 8 h 170"/>
              <a:gd name="T12" fmla="*/ 154 w 170"/>
              <a:gd name="T13" fmla="*/ 8 h 170"/>
              <a:gd name="T14" fmla="*/ 162 w 170"/>
              <a:gd name="T15" fmla="*/ 16 h 170"/>
              <a:gd name="T16" fmla="*/ 162 w 170"/>
              <a:gd name="T17" fmla="*/ 155 h 170"/>
              <a:gd name="T18" fmla="*/ 154 w 170"/>
              <a:gd name="T19" fmla="*/ 0 h 170"/>
              <a:gd name="T20" fmla="*/ 15 w 170"/>
              <a:gd name="T21" fmla="*/ 0 h 170"/>
              <a:gd name="T22" fmla="*/ 0 w 170"/>
              <a:gd name="T23" fmla="*/ 16 h 170"/>
              <a:gd name="T24" fmla="*/ 0 w 170"/>
              <a:gd name="T25" fmla="*/ 155 h 170"/>
              <a:gd name="T26" fmla="*/ 15 w 170"/>
              <a:gd name="T27" fmla="*/ 170 h 170"/>
              <a:gd name="T28" fmla="*/ 154 w 170"/>
              <a:gd name="T29" fmla="*/ 170 h 170"/>
              <a:gd name="T30" fmla="*/ 170 w 170"/>
              <a:gd name="T31" fmla="*/ 155 h 170"/>
              <a:gd name="T32" fmla="*/ 170 w 170"/>
              <a:gd name="T33" fmla="*/ 16 h 170"/>
              <a:gd name="T34" fmla="*/ 154 w 170"/>
              <a:gd name="T35" fmla="*/ 0 h 170"/>
              <a:gd name="T36" fmla="*/ 115 w 170"/>
              <a:gd name="T37" fmla="*/ 83 h 170"/>
              <a:gd name="T38" fmla="*/ 115 w 170"/>
              <a:gd name="T39" fmla="*/ 82 h 170"/>
              <a:gd name="T40" fmla="*/ 76 w 170"/>
              <a:gd name="T41" fmla="*/ 40 h 170"/>
              <a:gd name="T42" fmla="*/ 76 w 170"/>
              <a:gd name="T43" fmla="*/ 40 h 170"/>
              <a:gd name="T44" fmla="*/ 73 w 170"/>
              <a:gd name="T45" fmla="*/ 39 h 170"/>
              <a:gd name="T46" fmla="*/ 69 w 170"/>
              <a:gd name="T47" fmla="*/ 43 h 170"/>
              <a:gd name="T48" fmla="*/ 70 w 170"/>
              <a:gd name="T49" fmla="*/ 45 h 170"/>
              <a:gd name="T50" fmla="*/ 70 w 170"/>
              <a:gd name="T51" fmla="*/ 45 h 170"/>
              <a:gd name="T52" fmla="*/ 106 w 170"/>
              <a:gd name="T53" fmla="*/ 85 h 170"/>
              <a:gd name="T54" fmla="*/ 70 w 170"/>
              <a:gd name="T55" fmla="*/ 125 h 170"/>
              <a:gd name="T56" fmla="*/ 70 w 170"/>
              <a:gd name="T57" fmla="*/ 125 h 170"/>
              <a:gd name="T58" fmla="*/ 69 w 170"/>
              <a:gd name="T59" fmla="*/ 128 h 170"/>
              <a:gd name="T60" fmla="*/ 73 w 170"/>
              <a:gd name="T61" fmla="*/ 131 h 170"/>
              <a:gd name="T62" fmla="*/ 76 w 170"/>
              <a:gd name="T63" fmla="*/ 130 h 170"/>
              <a:gd name="T64" fmla="*/ 76 w 170"/>
              <a:gd name="T65" fmla="*/ 130 h 170"/>
              <a:gd name="T66" fmla="*/ 115 w 170"/>
              <a:gd name="T67" fmla="*/ 88 h 170"/>
              <a:gd name="T68" fmla="*/ 115 w 170"/>
              <a:gd name="T69" fmla="*/ 88 h 170"/>
              <a:gd name="T70" fmla="*/ 116 w 170"/>
              <a:gd name="T71" fmla="*/ 85 h 170"/>
              <a:gd name="T72" fmla="*/ 115 w 170"/>
              <a:gd name="T73" fmla="*/ 8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0" h="170">
                <a:moveTo>
                  <a:pt x="162" y="155"/>
                </a:moveTo>
                <a:cubicBezTo>
                  <a:pt x="162" y="159"/>
                  <a:pt x="158" y="162"/>
                  <a:pt x="154" y="162"/>
                </a:cubicBezTo>
                <a:cubicBezTo>
                  <a:pt x="15" y="162"/>
                  <a:pt x="15" y="162"/>
                  <a:pt x="15" y="162"/>
                </a:cubicBezTo>
                <a:cubicBezTo>
                  <a:pt x="11" y="162"/>
                  <a:pt x="7" y="159"/>
                  <a:pt x="7" y="155"/>
                </a:cubicBezTo>
                <a:cubicBezTo>
                  <a:pt x="7" y="16"/>
                  <a:pt x="7" y="16"/>
                  <a:pt x="7" y="16"/>
                </a:cubicBezTo>
                <a:cubicBezTo>
                  <a:pt x="7" y="11"/>
                  <a:pt x="11" y="8"/>
                  <a:pt x="15" y="8"/>
                </a:cubicBezTo>
                <a:cubicBezTo>
                  <a:pt x="154" y="8"/>
                  <a:pt x="154" y="8"/>
                  <a:pt x="154" y="8"/>
                </a:cubicBezTo>
                <a:cubicBezTo>
                  <a:pt x="158" y="8"/>
                  <a:pt x="162" y="11"/>
                  <a:pt x="162" y="16"/>
                </a:cubicBezTo>
                <a:cubicBezTo>
                  <a:pt x="162" y="155"/>
                  <a:pt x="162" y="155"/>
                  <a:pt x="162" y="155"/>
                </a:cubicBezTo>
                <a:close/>
                <a:moveTo>
                  <a:pt x="154" y="0"/>
                </a:moveTo>
                <a:cubicBezTo>
                  <a:pt x="15" y="0"/>
                  <a:pt x="15" y="0"/>
                  <a:pt x="15" y="0"/>
                </a:cubicBezTo>
                <a:cubicBezTo>
                  <a:pt x="7" y="0"/>
                  <a:pt x="0" y="7"/>
                  <a:pt x="0" y="16"/>
                </a:cubicBezTo>
                <a:cubicBezTo>
                  <a:pt x="0" y="155"/>
                  <a:pt x="0" y="155"/>
                  <a:pt x="0" y="155"/>
                </a:cubicBezTo>
                <a:cubicBezTo>
                  <a:pt x="0" y="163"/>
                  <a:pt x="7" y="170"/>
                  <a:pt x="15" y="170"/>
                </a:cubicBezTo>
                <a:cubicBezTo>
                  <a:pt x="154" y="170"/>
                  <a:pt x="154" y="170"/>
                  <a:pt x="154" y="170"/>
                </a:cubicBezTo>
                <a:cubicBezTo>
                  <a:pt x="163" y="170"/>
                  <a:pt x="170" y="163"/>
                  <a:pt x="170" y="155"/>
                </a:cubicBezTo>
                <a:cubicBezTo>
                  <a:pt x="170" y="16"/>
                  <a:pt x="170" y="16"/>
                  <a:pt x="170" y="16"/>
                </a:cubicBezTo>
                <a:cubicBezTo>
                  <a:pt x="170" y="7"/>
                  <a:pt x="163" y="0"/>
                  <a:pt x="154" y="0"/>
                </a:cubicBezTo>
                <a:moveTo>
                  <a:pt x="115" y="83"/>
                </a:moveTo>
                <a:cubicBezTo>
                  <a:pt x="115" y="82"/>
                  <a:pt x="115" y="82"/>
                  <a:pt x="115" y="82"/>
                </a:cubicBezTo>
                <a:cubicBezTo>
                  <a:pt x="76" y="40"/>
                  <a:pt x="76" y="40"/>
                  <a:pt x="76" y="40"/>
                </a:cubicBezTo>
                <a:cubicBezTo>
                  <a:pt x="76" y="40"/>
                  <a:pt x="76" y="40"/>
                  <a:pt x="76" y="40"/>
                </a:cubicBezTo>
                <a:cubicBezTo>
                  <a:pt x="75" y="39"/>
                  <a:pt x="74" y="39"/>
                  <a:pt x="73" y="39"/>
                </a:cubicBezTo>
                <a:cubicBezTo>
                  <a:pt x="71" y="39"/>
                  <a:pt x="69" y="40"/>
                  <a:pt x="69" y="43"/>
                </a:cubicBezTo>
                <a:cubicBezTo>
                  <a:pt x="69" y="44"/>
                  <a:pt x="70" y="44"/>
                  <a:pt x="70" y="45"/>
                </a:cubicBezTo>
                <a:cubicBezTo>
                  <a:pt x="70" y="45"/>
                  <a:pt x="70" y="45"/>
                  <a:pt x="70" y="45"/>
                </a:cubicBezTo>
                <a:cubicBezTo>
                  <a:pt x="106" y="85"/>
                  <a:pt x="106" y="85"/>
                  <a:pt x="106" y="85"/>
                </a:cubicBezTo>
                <a:cubicBezTo>
                  <a:pt x="70" y="125"/>
                  <a:pt x="70" y="125"/>
                  <a:pt x="70" y="125"/>
                </a:cubicBezTo>
                <a:cubicBezTo>
                  <a:pt x="70" y="125"/>
                  <a:pt x="70" y="125"/>
                  <a:pt x="70" y="125"/>
                </a:cubicBezTo>
                <a:cubicBezTo>
                  <a:pt x="70" y="126"/>
                  <a:pt x="69" y="127"/>
                  <a:pt x="69" y="128"/>
                </a:cubicBezTo>
                <a:cubicBezTo>
                  <a:pt x="69" y="130"/>
                  <a:pt x="71" y="131"/>
                  <a:pt x="73" y="131"/>
                </a:cubicBezTo>
                <a:cubicBezTo>
                  <a:pt x="74" y="131"/>
                  <a:pt x="75" y="131"/>
                  <a:pt x="76" y="130"/>
                </a:cubicBezTo>
                <a:cubicBezTo>
                  <a:pt x="76" y="130"/>
                  <a:pt x="76" y="130"/>
                  <a:pt x="76" y="130"/>
                </a:cubicBezTo>
                <a:cubicBezTo>
                  <a:pt x="115" y="88"/>
                  <a:pt x="115" y="88"/>
                  <a:pt x="115" y="88"/>
                </a:cubicBezTo>
                <a:cubicBezTo>
                  <a:pt x="115" y="88"/>
                  <a:pt x="115" y="88"/>
                  <a:pt x="115" y="88"/>
                </a:cubicBezTo>
                <a:cubicBezTo>
                  <a:pt x="115" y="87"/>
                  <a:pt x="116" y="86"/>
                  <a:pt x="116" y="85"/>
                </a:cubicBezTo>
                <a:cubicBezTo>
                  <a:pt x="116" y="84"/>
                  <a:pt x="115" y="83"/>
                  <a:pt x="115" y="8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AU"/>
          </a:p>
        </p:txBody>
      </p:sp>
      <p:sp>
        <p:nvSpPr>
          <p:cNvPr id="3" name="Rectangle 2">
            <a:extLst>
              <a:ext uri="{FF2B5EF4-FFF2-40B4-BE49-F238E27FC236}">
                <a16:creationId xmlns:a16="http://schemas.microsoft.com/office/drawing/2014/main" id="{AC44E5D2-7B90-33C3-768E-7984E9645ED1}"/>
              </a:ext>
            </a:extLst>
          </p:cNvPr>
          <p:cNvSpPr/>
          <p:nvPr userDrawn="1"/>
        </p:nvSpPr>
        <p:spPr>
          <a:xfrm>
            <a:off x="-1" y="396000"/>
            <a:ext cx="2169553" cy="71636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 name="Content Placeholder 3">
            <a:extLst>
              <a:ext uri="{FF2B5EF4-FFF2-40B4-BE49-F238E27FC236}">
                <a16:creationId xmlns:a16="http://schemas.microsoft.com/office/drawing/2014/main" id="{4596A124-AFDA-0E95-7D97-AF571E116985}"/>
              </a:ext>
            </a:extLst>
          </p:cNvPr>
          <p:cNvSpPr>
            <a:spLocks noGrp="1"/>
          </p:cNvSpPr>
          <p:nvPr>
            <p:ph sz="quarter" idx="33"/>
          </p:nvPr>
        </p:nvSpPr>
        <p:spPr>
          <a:xfrm>
            <a:off x="432648" y="648000"/>
            <a:ext cx="1332000" cy="6480000"/>
          </a:xfrm>
          <a:prstGeom prst="rect">
            <a:avLst/>
          </a:prstGeom>
        </p:spPr>
        <p:txBody>
          <a:bodyPr/>
          <a:lstStyle>
            <a:lvl1pPr rtl="0">
              <a:spcBef>
                <a:spcPts val="0"/>
              </a:spcBef>
              <a:spcAft>
                <a:spcPts val="900"/>
              </a:spcAft>
              <a:defRPr sz="1050">
                <a:solidFill>
                  <a:schemeClr val="accent6"/>
                </a:solidFill>
              </a:defRPr>
            </a:lvl1pPr>
            <a:lvl2pPr rtl="0">
              <a:spcBef>
                <a:spcPts val="0"/>
              </a:spcBef>
              <a:spcAft>
                <a:spcPts val="900"/>
              </a:spcAft>
              <a:buClrTx/>
              <a:defRPr sz="1050">
                <a:solidFill>
                  <a:schemeClr val="bg2"/>
                </a:solidFill>
              </a:defRPr>
            </a:lvl2pPr>
            <a:lvl3pPr rtl="0">
              <a:spcBef>
                <a:spcPts val="0"/>
              </a:spcBef>
              <a:spcAft>
                <a:spcPts val="900"/>
              </a:spcAft>
              <a:buClrTx/>
              <a:defRPr sz="1050">
                <a:solidFill>
                  <a:schemeClr val="bg2"/>
                </a:solidFill>
              </a:defRPr>
            </a:lvl3pPr>
            <a:lvl4pPr rtl="0">
              <a:spcBef>
                <a:spcPts val="0"/>
              </a:spcBef>
              <a:spcAft>
                <a:spcPts val="900"/>
              </a:spcAft>
              <a:buClrTx/>
              <a:defRPr sz="1050">
                <a:solidFill>
                  <a:schemeClr val="bg2"/>
                </a:solidFill>
              </a:defRPr>
            </a:lvl4pPr>
            <a:lvl5pPr rtl="0">
              <a:spcBef>
                <a:spcPts val="0"/>
              </a:spcBef>
              <a:spcAft>
                <a:spcPts val="900"/>
              </a:spcAft>
              <a:buClrTx/>
              <a:defRPr sz="1050">
                <a:solidFill>
                  <a:schemeClr val="bg2"/>
                </a:solidFill>
              </a:defRPr>
            </a:lvl5pPr>
          </a:lstStyle>
          <a:p>
            <a:pPr lvl="0"/>
            <a:r>
              <a:rPr lang="en-US" noProof="0" dirty="0"/>
              <a:t>Click to edit Master text styles</a:t>
            </a:r>
          </a:p>
        </p:txBody>
      </p:sp>
      <p:sp>
        <p:nvSpPr>
          <p:cNvPr id="5" name="Text Placeholder 10">
            <a:extLst>
              <a:ext uri="{FF2B5EF4-FFF2-40B4-BE49-F238E27FC236}">
                <a16:creationId xmlns:a16="http://schemas.microsoft.com/office/drawing/2014/main" id="{AE828BEA-F057-EEA1-5ED8-813F17263D77}"/>
              </a:ext>
            </a:extLst>
          </p:cNvPr>
          <p:cNvSpPr>
            <a:spLocks noGrp="1"/>
          </p:cNvSpPr>
          <p:nvPr>
            <p:ph type="body" sz="quarter" idx="10" hasCustomPrompt="1"/>
          </p:nvPr>
        </p:nvSpPr>
        <p:spPr>
          <a:xfrm>
            <a:off x="2555999" y="576000"/>
            <a:ext cx="7703165" cy="346813"/>
          </a:xfrm>
          <a:prstGeom prst="rect">
            <a:avLst/>
          </a:prstGeom>
        </p:spPr>
        <p:txBody>
          <a:bodyPr tIns="36000" bIns="36000" anchor="t" anchorCtr="0"/>
          <a:lstStyle>
            <a:lvl1pPr>
              <a:defRPr lang="en-AU" sz="1800" b="0" kern="1200" spc="0" noProof="0" dirty="0">
                <a:solidFill>
                  <a:schemeClr val="accent6"/>
                </a:solidFill>
                <a:latin typeface="Segoe UI Semibold" panose="020B0702040204020203" pitchFamily="34" charset="0"/>
                <a:ea typeface="Segoe UI Semibold" panose="020B0702040204020203" pitchFamily="34" charset="0"/>
                <a:cs typeface="Segoe UI Semibold" panose="020B0702040204020203" pitchFamily="34" charset="0"/>
              </a:defRPr>
            </a:lvl1pPr>
            <a:lvl5pPr>
              <a:defRPr/>
            </a:lvl5pPr>
          </a:lstStyle>
          <a:p>
            <a:pPr marL="0" lvl="0" indent="0" algn="l" defTabSz="995230" rtl="0" eaLnBrk="1" latinLnBrk="0" hangingPunct="1">
              <a:spcBef>
                <a:spcPts val="1306"/>
              </a:spcBef>
              <a:buFont typeface="Arial" pitchFamily="34" charset="0"/>
              <a:buNone/>
            </a:pPr>
            <a:r>
              <a:rPr lang="en-AU" noProof="0" dirty="0"/>
              <a:t>Governing thought</a:t>
            </a:r>
          </a:p>
        </p:txBody>
      </p:sp>
      <p:sp>
        <p:nvSpPr>
          <p:cNvPr id="11" name="Content Placeholder 5">
            <a:extLst>
              <a:ext uri="{FF2B5EF4-FFF2-40B4-BE49-F238E27FC236}">
                <a16:creationId xmlns:a16="http://schemas.microsoft.com/office/drawing/2014/main" id="{8E89A827-ED1C-1592-77B0-59606C995771}"/>
              </a:ext>
            </a:extLst>
          </p:cNvPr>
          <p:cNvSpPr>
            <a:spLocks noGrp="1"/>
          </p:cNvSpPr>
          <p:nvPr>
            <p:ph sz="quarter" idx="14"/>
          </p:nvPr>
        </p:nvSpPr>
        <p:spPr>
          <a:xfrm>
            <a:off x="2555999" y="1116000"/>
            <a:ext cx="7703165" cy="5760000"/>
          </a:xfrm>
        </p:spPr>
        <p:txBody>
          <a:bodyPr/>
          <a:lstStyle>
            <a:lvl1pPr>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 Placeholder 2">
            <a:extLst>
              <a:ext uri="{FF2B5EF4-FFF2-40B4-BE49-F238E27FC236}">
                <a16:creationId xmlns:a16="http://schemas.microsoft.com/office/drawing/2014/main" id="{70F4E26B-48D1-89E5-8EBB-ED185966C67C}"/>
              </a:ext>
            </a:extLst>
          </p:cNvPr>
          <p:cNvSpPr>
            <a:spLocks noGrp="1"/>
          </p:cNvSpPr>
          <p:nvPr>
            <p:ph type="body" sz="quarter" idx="32" hasCustomPrompt="1"/>
          </p:nvPr>
        </p:nvSpPr>
        <p:spPr>
          <a:xfrm>
            <a:off x="2555999" y="6984000"/>
            <a:ext cx="7703165" cy="316600"/>
          </a:xfrm>
        </p:spPr>
        <p:txBody>
          <a:bodyPr anchor="ctr"/>
          <a:lstStyle>
            <a:lvl1pPr>
              <a:defRPr sz="950">
                <a:solidFill>
                  <a:schemeClr val="bg2"/>
                </a:solidFill>
              </a:defRPr>
            </a:lvl1pPr>
          </a:lstStyle>
          <a:p>
            <a:pPr lvl="0"/>
            <a:r>
              <a:rPr lang="en-AU" noProof="0"/>
              <a:t>Source</a:t>
            </a:r>
          </a:p>
        </p:txBody>
      </p:sp>
    </p:spTree>
    <p:extLst>
      <p:ext uri="{BB962C8B-B14F-4D97-AF65-F5344CB8AC3E}">
        <p14:creationId xmlns:p14="http://schemas.microsoft.com/office/powerpoint/2010/main" val="29391510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image">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A13DD76C-B0DF-5844-46E8-ACA7008494DC}"/>
              </a:ext>
            </a:extLst>
          </p:cNvPr>
          <p:cNvSpPr/>
          <p:nvPr userDrawn="1"/>
        </p:nvSpPr>
        <p:spPr>
          <a:xfrm>
            <a:off x="5418084" y="0"/>
            <a:ext cx="3039296" cy="3659583"/>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2263"/>
          </a:p>
        </p:txBody>
      </p:sp>
      <p:sp>
        <p:nvSpPr>
          <p:cNvPr id="38" name="Free-form: Shape 37">
            <a:extLst>
              <a:ext uri="{FF2B5EF4-FFF2-40B4-BE49-F238E27FC236}">
                <a16:creationId xmlns:a16="http://schemas.microsoft.com/office/drawing/2014/main" id="{2DCABD5A-B67F-F174-BA18-01F969DC1B68}"/>
              </a:ext>
            </a:extLst>
          </p:cNvPr>
          <p:cNvSpPr/>
          <p:nvPr/>
        </p:nvSpPr>
        <p:spPr>
          <a:xfrm>
            <a:off x="4814261" y="2462353"/>
            <a:ext cx="5877551" cy="4400883"/>
          </a:xfrm>
          <a:custGeom>
            <a:avLst/>
            <a:gdLst>
              <a:gd name="connsiteX0" fmla="*/ 0 w 5026680"/>
              <a:gd name="connsiteY0" fmla="*/ 0 h 3992401"/>
              <a:gd name="connsiteX1" fmla="*/ 5026680 w 5026680"/>
              <a:gd name="connsiteY1" fmla="*/ 0 h 3992401"/>
              <a:gd name="connsiteX2" fmla="*/ 5026680 w 5026680"/>
              <a:gd name="connsiteY2" fmla="*/ 3992401 h 3992401"/>
              <a:gd name="connsiteX3" fmla="*/ 2920561 w 5026680"/>
              <a:gd name="connsiteY3" fmla="*/ 3992401 h 3992401"/>
              <a:gd name="connsiteX4" fmla="*/ 1025695 w 5026680"/>
              <a:gd name="connsiteY4" fmla="*/ 10950 h 3992401"/>
              <a:gd name="connsiteX5" fmla="*/ 4897 w 5026680"/>
              <a:gd name="connsiteY5" fmla="*/ 10820 h 3992401"/>
              <a:gd name="connsiteX6" fmla="*/ 0 w 5026680"/>
              <a:gd name="connsiteY6" fmla="*/ 0 h 399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6680" h="3992401">
                <a:moveTo>
                  <a:pt x="0" y="0"/>
                </a:moveTo>
                <a:lnTo>
                  <a:pt x="5026680" y="0"/>
                </a:lnTo>
                <a:lnTo>
                  <a:pt x="5026680" y="3992401"/>
                </a:lnTo>
                <a:lnTo>
                  <a:pt x="2920561" y="3992401"/>
                </a:lnTo>
                <a:lnTo>
                  <a:pt x="1025695" y="10950"/>
                </a:lnTo>
                <a:lnTo>
                  <a:pt x="4897" y="10820"/>
                </a:lnTo>
                <a:lnTo>
                  <a:pt x="0" y="0"/>
                </a:lnTo>
                <a:close/>
              </a:path>
            </a:pathLst>
          </a:custGeom>
          <a:solidFill>
            <a:schemeClr val="bg2"/>
          </a:solidFill>
          <a:ln w="4757" cap="flat">
            <a:noFill/>
            <a:prstDash val="solid"/>
            <a:miter/>
          </a:ln>
        </p:spPr>
        <p:txBody>
          <a:bodyPr rtlCol="0" anchor="ctr"/>
          <a:lstStyle/>
          <a:p>
            <a:endParaRPr lang="en-AU" sz="2263"/>
          </a:p>
        </p:txBody>
      </p:sp>
      <p:sp>
        <p:nvSpPr>
          <p:cNvPr id="40" name="Picture Placeholder 39">
            <a:extLst>
              <a:ext uri="{FF2B5EF4-FFF2-40B4-BE49-F238E27FC236}">
                <a16:creationId xmlns:a16="http://schemas.microsoft.com/office/drawing/2014/main" id="{5B925039-3386-9DB3-1F58-4C26FF278362}"/>
              </a:ext>
            </a:extLst>
          </p:cNvPr>
          <p:cNvSpPr>
            <a:spLocks noGrp="1" noChangeAspect="1"/>
          </p:cNvSpPr>
          <p:nvPr>
            <p:ph type="pic" sz="quarter" idx="14" hasCustomPrompt="1"/>
          </p:nvPr>
        </p:nvSpPr>
        <p:spPr>
          <a:xfrm>
            <a:off x="2" y="2462353"/>
            <a:ext cx="8234781" cy="4400617"/>
          </a:xfrm>
          <a:custGeom>
            <a:avLst/>
            <a:gdLst>
              <a:gd name="connsiteX0" fmla="*/ 0 w 7042663"/>
              <a:gd name="connsiteY0" fmla="*/ 0 h 3992160"/>
              <a:gd name="connsiteX1" fmla="*/ 5143014 w 7042663"/>
              <a:gd name="connsiteY1" fmla="*/ 658 h 3992160"/>
              <a:gd name="connsiteX2" fmla="*/ 7042663 w 7042663"/>
              <a:gd name="connsiteY2" fmla="*/ 3992160 h 3992160"/>
              <a:gd name="connsiteX3" fmla="*/ 0 w 7042663"/>
              <a:gd name="connsiteY3" fmla="*/ 3992160 h 3992160"/>
            </a:gdLst>
            <a:ahLst/>
            <a:cxnLst>
              <a:cxn ang="0">
                <a:pos x="connsiteX0" y="connsiteY0"/>
              </a:cxn>
              <a:cxn ang="0">
                <a:pos x="connsiteX1" y="connsiteY1"/>
              </a:cxn>
              <a:cxn ang="0">
                <a:pos x="connsiteX2" y="connsiteY2"/>
              </a:cxn>
              <a:cxn ang="0">
                <a:pos x="connsiteX3" y="connsiteY3"/>
              </a:cxn>
            </a:cxnLst>
            <a:rect l="l" t="t" r="r" b="b"/>
            <a:pathLst>
              <a:path w="7042663" h="3992160">
                <a:moveTo>
                  <a:pt x="0" y="0"/>
                </a:moveTo>
                <a:lnTo>
                  <a:pt x="5143014" y="658"/>
                </a:lnTo>
                <a:lnTo>
                  <a:pt x="7042663" y="3992160"/>
                </a:lnTo>
                <a:lnTo>
                  <a:pt x="0" y="3992160"/>
                </a:lnTo>
                <a:close/>
              </a:path>
            </a:pathLst>
          </a:custGeom>
          <a:solidFill>
            <a:schemeClr val="bg1">
              <a:lumMod val="75000"/>
            </a:schemeClr>
          </a:solidFill>
        </p:spPr>
        <p:txBody>
          <a:bodyPr wrap="square" lIns="504000" tIns="288000" rIns="3600000" bIns="360000" anchor="t" anchorCtr="0">
            <a:noAutofit/>
          </a:bodyPr>
          <a:lstStyle>
            <a:lvl1pPr algn="l">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568002" y="614693"/>
            <a:ext cx="5366953" cy="1587333"/>
          </a:xfrm>
        </p:spPr>
        <p:txBody>
          <a:bodyPr/>
          <a:lstStyle>
            <a:lvl1pPr marL="0" indent="0" algn="l">
              <a:buNone/>
              <a:defRPr sz="3417" b="0">
                <a:solidFill>
                  <a:schemeClr val="accent6"/>
                </a:solidFill>
              </a:defRPr>
            </a:lvl1pPr>
            <a:lvl2pPr marL="0" indent="0" algn="l">
              <a:buNone/>
              <a:defRPr sz="2535" b="0">
                <a:solidFill>
                  <a:schemeClr val="accent6"/>
                </a:solidFill>
              </a:defRPr>
            </a:lvl2pPr>
            <a:lvl3pPr marL="0" indent="0" algn="l">
              <a:buNone/>
              <a:defRPr sz="2535" b="0">
                <a:solidFill>
                  <a:schemeClr val="accent6"/>
                </a:solidFill>
              </a:defRPr>
            </a:lvl3pPr>
            <a:lvl4pPr marL="0" indent="0" algn="l">
              <a:buNone/>
              <a:defRPr sz="2535" b="0">
                <a:solidFill>
                  <a:schemeClr val="accent6"/>
                </a:solidFill>
              </a:defRPr>
            </a:lvl4pPr>
            <a:lvl5pPr marL="0" indent="0" algn="l">
              <a:buNone/>
              <a:defRPr sz="2535" b="0">
                <a:solidFill>
                  <a:schemeClr val="accent6"/>
                </a:solidFill>
              </a:defRPr>
            </a:lvl5pPr>
            <a:lvl6pPr marL="0" indent="0" algn="l">
              <a:buNone/>
              <a:defRPr sz="2535" b="0">
                <a:solidFill>
                  <a:schemeClr val="accent6"/>
                </a:solidFill>
              </a:defRPr>
            </a:lvl6pPr>
            <a:lvl7pPr marL="0" indent="0" algn="l">
              <a:buNone/>
              <a:defRPr sz="2535" b="0">
                <a:solidFill>
                  <a:schemeClr val="accent6"/>
                </a:solidFill>
              </a:defRPr>
            </a:lvl7pPr>
            <a:lvl8pPr marL="0" indent="0" algn="l">
              <a:buNone/>
              <a:defRPr sz="2535" b="0">
                <a:solidFill>
                  <a:schemeClr val="accent6"/>
                </a:solidFill>
              </a:defRPr>
            </a:lvl8pPr>
            <a:lvl9pPr marL="0" indent="0" algn="l">
              <a:buNone/>
              <a:defRPr sz="2535" b="0">
                <a:solidFill>
                  <a:schemeClr val="accent6"/>
                </a:solidFill>
              </a:defRPr>
            </a:lvl9pPr>
          </a:lstStyle>
          <a:p>
            <a:r>
              <a:rPr lang="en-AU" dirty="0"/>
              <a:t>Title heading-first level</a:t>
            </a:r>
            <a:endParaRPr lang="en-GB" dirty="0"/>
          </a:p>
          <a:p>
            <a:pPr lvl="1"/>
            <a:r>
              <a:rPr lang="en-US" dirty="0"/>
              <a:t>Subheading-second level</a:t>
            </a:r>
            <a:endParaRPr lang="en-GB" dirty="0"/>
          </a:p>
        </p:txBody>
      </p:sp>
      <p:cxnSp>
        <p:nvCxnSpPr>
          <p:cNvPr id="2" name="Straight Connector 1">
            <a:extLst>
              <a:ext uri="{FF2B5EF4-FFF2-40B4-BE49-F238E27FC236}">
                <a16:creationId xmlns:a16="http://schemas.microsoft.com/office/drawing/2014/main" id="{28BBBDA6-519A-05D0-4F6B-24B47AD172E0}"/>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Free-form: Shape 14">
            <a:extLst>
              <a:ext uri="{FF2B5EF4-FFF2-40B4-BE49-F238E27FC236}">
                <a16:creationId xmlns:a16="http://schemas.microsoft.com/office/drawing/2014/main" id="{8CF85D78-FC0B-F4EA-1EF4-C857106FD948}"/>
              </a:ext>
            </a:extLst>
          </p:cNvPr>
          <p:cNvSpPr/>
          <p:nvPr userDrawn="1"/>
        </p:nvSpPr>
        <p:spPr>
          <a:xfrm>
            <a:off x="6350202" y="6861384"/>
            <a:ext cx="1877156" cy="698290"/>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2263"/>
          </a:p>
        </p:txBody>
      </p:sp>
      <p:pic>
        <p:nvPicPr>
          <p:cNvPr id="16" name="Graphic 15">
            <a:extLst>
              <a:ext uri="{FF2B5EF4-FFF2-40B4-BE49-F238E27FC236}">
                <a16:creationId xmlns:a16="http://schemas.microsoft.com/office/drawing/2014/main" id="{EF67C86E-C469-E935-8F6B-B956C4B551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07087" y="997347"/>
            <a:ext cx="1961508" cy="567943"/>
          </a:xfrm>
          <a:prstGeom prst="rect">
            <a:avLst/>
          </a:prstGeom>
        </p:spPr>
      </p:pic>
      <p:sp>
        <p:nvSpPr>
          <p:cNvPr id="17" name="Text Placeholder 16">
            <a:extLst>
              <a:ext uri="{FF2B5EF4-FFF2-40B4-BE49-F238E27FC236}">
                <a16:creationId xmlns:a16="http://schemas.microsoft.com/office/drawing/2014/main" id="{FD4EB4A5-D3CA-B552-1419-ADCF6DC9E32A}"/>
              </a:ext>
            </a:extLst>
          </p:cNvPr>
          <p:cNvSpPr>
            <a:spLocks noGrp="1" noChangeAspect="1"/>
          </p:cNvSpPr>
          <p:nvPr>
            <p:ph type="body" sz="quarter" idx="25"/>
          </p:nvPr>
        </p:nvSpPr>
        <p:spPr>
          <a:xfrm>
            <a:off x="6700954" y="5338110"/>
            <a:ext cx="1526405" cy="1523275"/>
          </a:xfrm>
          <a:custGeom>
            <a:avLst/>
            <a:gdLst>
              <a:gd name="connsiteX0" fmla="*/ 655955 w 1305433"/>
              <a:gd name="connsiteY0" fmla="*/ 0 h 1381887"/>
              <a:gd name="connsiteX1" fmla="*/ 1305433 w 1305433"/>
              <a:gd name="connsiteY1" fmla="*/ 1381887 h 1381887"/>
              <a:gd name="connsiteX2" fmla="*/ 0 w 1305433"/>
              <a:gd name="connsiteY2" fmla="*/ 1381887 h 1381887"/>
            </a:gdLst>
            <a:ahLst/>
            <a:cxnLst>
              <a:cxn ang="0">
                <a:pos x="connsiteX0" y="connsiteY0"/>
              </a:cxn>
              <a:cxn ang="0">
                <a:pos x="connsiteX1" y="connsiteY1"/>
              </a:cxn>
              <a:cxn ang="0">
                <a:pos x="connsiteX2" y="connsiteY2"/>
              </a:cxn>
            </a:cxnLst>
            <a:rect l="l" t="t" r="r" b="b"/>
            <a:pathLst>
              <a:path w="1305433" h="1381887">
                <a:moveTo>
                  <a:pt x="655955" y="0"/>
                </a:moveTo>
                <a:lnTo>
                  <a:pt x="1305433" y="1381887"/>
                </a:lnTo>
                <a:lnTo>
                  <a:pt x="0" y="1381887"/>
                </a:lnTo>
                <a:close/>
              </a:path>
            </a:pathLst>
          </a:custGeom>
          <a:solidFill>
            <a:schemeClr val="tx2">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8" name="Text Placeholder 2">
            <a:extLst>
              <a:ext uri="{FF2B5EF4-FFF2-40B4-BE49-F238E27FC236}">
                <a16:creationId xmlns:a16="http://schemas.microsoft.com/office/drawing/2014/main" id="{B6351E1D-0587-2E7B-55B8-06B2E8737F98}"/>
              </a:ext>
            </a:extLst>
          </p:cNvPr>
          <p:cNvSpPr>
            <a:spLocks noGrp="1" noChangeAspect="1"/>
          </p:cNvSpPr>
          <p:nvPr>
            <p:ph type="body" sz="quarter" idx="22"/>
          </p:nvPr>
        </p:nvSpPr>
        <p:spPr>
          <a:xfrm>
            <a:off x="7467943" y="5338109"/>
            <a:ext cx="1526544" cy="1523840"/>
          </a:xfrm>
          <a:custGeom>
            <a:avLst/>
            <a:gdLst>
              <a:gd name="connsiteX0" fmla="*/ 0 w 2119820"/>
              <a:gd name="connsiteY0" fmla="*/ 0 h 2244597"/>
              <a:gd name="connsiteX1" fmla="*/ 2119757 w 2119820"/>
              <a:gd name="connsiteY1" fmla="*/ 0 h 2244597"/>
              <a:gd name="connsiteX2" fmla="*/ 2119820 w 2119820"/>
              <a:gd name="connsiteY2" fmla="*/ 135 h 2244597"/>
              <a:gd name="connsiteX3" fmla="*/ 1054953 w 2119820"/>
              <a:gd name="connsiteY3" fmla="*/ 2244597 h 2244597"/>
              <a:gd name="connsiteX4" fmla="*/ 1054925 w 2119820"/>
              <a:gd name="connsiteY4" fmla="*/ 2244597 h 2244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9820" h="2244597">
                <a:moveTo>
                  <a:pt x="0" y="0"/>
                </a:moveTo>
                <a:lnTo>
                  <a:pt x="2119757" y="0"/>
                </a:lnTo>
                <a:lnTo>
                  <a:pt x="2119820" y="135"/>
                </a:lnTo>
                <a:lnTo>
                  <a:pt x="1054953" y="2244597"/>
                </a:lnTo>
                <a:lnTo>
                  <a:pt x="1054925" y="2244597"/>
                </a:lnTo>
                <a:close/>
              </a:path>
            </a:pathLst>
          </a:custGeom>
          <a:solidFill>
            <a:schemeClr val="tx2">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0" name="Text Placeholder 19">
            <a:extLst>
              <a:ext uri="{FF2B5EF4-FFF2-40B4-BE49-F238E27FC236}">
                <a16:creationId xmlns:a16="http://schemas.microsoft.com/office/drawing/2014/main" id="{02C71BA1-4727-3A94-C697-2772234AF9F2}"/>
              </a:ext>
            </a:extLst>
          </p:cNvPr>
          <p:cNvSpPr>
            <a:spLocks noGrp="1"/>
          </p:cNvSpPr>
          <p:nvPr>
            <p:ph type="body" sz="quarter" idx="27"/>
          </p:nvPr>
        </p:nvSpPr>
        <p:spPr>
          <a:xfrm>
            <a:off x="4820679" y="2462353"/>
            <a:ext cx="1793997" cy="1197229"/>
          </a:xfrm>
          <a:custGeom>
            <a:avLst/>
            <a:gdLst>
              <a:gd name="connsiteX0" fmla="*/ 0 w 1534287"/>
              <a:gd name="connsiteY0" fmla="*/ 0 h 1086104"/>
              <a:gd name="connsiteX1" fmla="*/ 1023366 w 1534287"/>
              <a:gd name="connsiteY1" fmla="*/ 0 h 1086104"/>
              <a:gd name="connsiteX2" fmla="*/ 1534287 w 1534287"/>
              <a:gd name="connsiteY2" fmla="*/ 1086104 h 1086104"/>
              <a:gd name="connsiteX3" fmla="*/ 510921 w 1534287"/>
              <a:gd name="connsiteY3" fmla="*/ 1086104 h 1086104"/>
              <a:gd name="connsiteX4" fmla="*/ 0 w 1534287"/>
              <a:gd name="connsiteY4" fmla="*/ 0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0" y="0"/>
                </a:moveTo>
                <a:lnTo>
                  <a:pt x="1023366" y="0"/>
                </a:lnTo>
                <a:lnTo>
                  <a:pt x="1534287" y="1086104"/>
                </a:lnTo>
                <a:lnTo>
                  <a:pt x="510921" y="1086104"/>
                </a:lnTo>
                <a:cubicBezTo>
                  <a:pt x="510921" y="1086104"/>
                  <a:pt x="0" y="0"/>
                  <a:pt x="0" y="0"/>
                </a:cubicBezTo>
                <a:close/>
              </a:path>
            </a:pathLst>
          </a:custGeom>
          <a:solidFill>
            <a:schemeClr val="bg1">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1" name="Text Placeholder 24">
            <a:extLst>
              <a:ext uri="{FF2B5EF4-FFF2-40B4-BE49-F238E27FC236}">
                <a16:creationId xmlns:a16="http://schemas.microsoft.com/office/drawing/2014/main" id="{D8F58367-9BE9-C43F-398C-868E3E4B9FF4}"/>
              </a:ext>
            </a:extLst>
          </p:cNvPr>
          <p:cNvSpPr>
            <a:spLocks noGrp="1" noChangeAspect="1"/>
          </p:cNvSpPr>
          <p:nvPr>
            <p:ph type="body" sz="quarter" idx="20"/>
          </p:nvPr>
        </p:nvSpPr>
        <p:spPr>
          <a:xfrm>
            <a:off x="5418084" y="2462353"/>
            <a:ext cx="1203008" cy="1198437"/>
          </a:xfrm>
          <a:custGeom>
            <a:avLst/>
            <a:gdLst>
              <a:gd name="connsiteX0" fmla="*/ 835659 w 1661668"/>
              <a:gd name="connsiteY0" fmla="*/ 0 h 1755902"/>
              <a:gd name="connsiteX1" fmla="*/ 1661668 w 1661668"/>
              <a:gd name="connsiteY1" fmla="*/ 1755902 h 1755902"/>
              <a:gd name="connsiteX2" fmla="*/ 0 w 1661668"/>
              <a:gd name="connsiteY2" fmla="*/ 1755902 h 1755902"/>
            </a:gdLst>
            <a:ahLst/>
            <a:cxnLst>
              <a:cxn ang="0">
                <a:pos x="connsiteX0" y="connsiteY0"/>
              </a:cxn>
              <a:cxn ang="0">
                <a:pos x="connsiteX1" y="connsiteY1"/>
              </a:cxn>
              <a:cxn ang="0">
                <a:pos x="connsiteX2" y="connsiteY2"/>
              </a:cxn>
            </a:cxnLst>
            <a:rect l="l" t="t" r="r" b="b"/>
            <a:pathLst>
              <a:path w="1661668" h="1755902">
                <a:moveTo>
                  <a:pt x="835659" y="0"/>
                </a:moveTo>
                <a:cubicBezTo>
                  <a:pt x="835659" y="0"/>
                  <a:pt x="1661668" y="1755902"/>
                  <a:pt x="1661668" y="1755902"/>
                </a:cubicBezTo>
                <a:lnTo>
                  <a:pt x="0" y="1755902"/>
                </a:lnTo>
                <a:close/>
              </a:path>
            </a:pathLst>
          </a:custGeom>
          <a:solidFill>
            <a:schemeClr val="accent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2" name="Text Placeholder 21">
            <a:extLst>
              <a:ext uri="{FF2B5EF4-FFF2-40B4-BE49-F238E27FC236}">
                <a16:creationId xmlns:a16="http://schemas.microsoft.com/office/drawing/2014/main" id="{48FE88D8-DD84-A127-C179-33FF11FEAF63}"/>
              </a:ext>
            </a:extLst>
          </p:cNvPr>
          <p:cNvSpPr>
            <a:spLocks noGrp="1"/>
          </p:cNvSpPr>
          <p:nvPr>
            <p:ph type="body" sz="quarter" idx="28"/>
          </p:nvPr>
        </p:nvSpPr>
        <p:spPr>
          <a:xfrm>
            <a:off x="7467941" y="5338110"/>
            <a:ext cx="2285375" cy="1523275"/>
          </a:xfrm>
          <a:custGeom>
            <a:avLst/>
            <a:gdLst>
              <a:gd name="connsiteX0" fmla="*/ 0 w 1954530"/>
              <a:gd name="connsiteY0" fmla="*/ 0 h 1381887"/>
              <a:gd name="connsiteX1" fmla="*/ 1305052 w 1954530"/>
              <a:gd name="connsiteY1" fmla="*/ 0 h 1381887"/>
              <a:gd name="connsiteX2" fmla="*/ 1954530 w 1954530"/>
              <a:gd name="connsiteY2" fmla="*/ 1381887 h 1381887"/>
              <a:gd name="connsiteX3" fmla="*/ 649478 w 1954530"/>
              <a:gd name="connsiteY3" fmla="*/ 1381887 h 1381887"/>
            </a:gdLst>
            <a:ahLst/>
            <a:cxnLst>
              <a:cxn ang="0">
                <a:pos x="connsiteX0" y="connsiteY0"/>
              </a:cxn>
              <a:cxn ang="0">
                <a:pos x="connsiteX1" y="connsiteY1"/>
              </a:cxn>
              <a:cxn ang="0">
                <a:pos x="connsiteX2" y="connsiteY2"/>
              </a:cxn>
              <a:cxn ang="0">
                <a:pos x="connsiteX3" y="connsiteY3"/>
              </a:cxn>
            </a:cxnLst>
            <a:rect l="l" t="t" r="r" b="b"/>
            <a:pathLst>
              <a:path w="1954530" h="1381887">
                <a:moveTo>
                  <a:pt x="0" y="0"/>
                </a:moveTo>
                <a:lnTo>
                  <a:pt x="1305052" y="0"/>
                </a:lnTo>
                <a:cubicBezTo>
                  <a:pt x="1305052" y="0"/>
                  <a:pt x="1954530" y="1381887"/>
                  <a:pt x="1954530" y="1381887"/>
                </a:cubicBezTo>
                <a:lnTo>
                  <a:pt x="649478" y="1381887"/>
                </a:lnTo>
                <a:close/>
              </a:path>
            </a:pathLst>
          </a:custGeom>
          <a:solidFill>
            <a:schemeClr val="bg1">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2" name="Free-form: Shape 41">
            <a:extLst>
              <a:ext uri="{FF2B5EF4-FFF2-40B4-BE49-F238E27FC236}">
                <a16:creationId xmlns:a16="http://schemas.microsoft.com/office/drawing/2014/main" id="{3FD0863A-B744-BA87-F617-4BBA1966EEB8}"/>
              </a:ext>
            </a:extLst>
          </p:cNvPr>
          <p:cNvSpPr/>
          <p:nvPr userDrawn="1"/>
        </p:nvSpPr>
        <p:spPr>
          <a:xfrm>
            <a:off x="6016052" y="2462353"/>
            <a:ext cx="1203008" cy="1198437"/>
          </a:xfrm>
          <a:custGeom>
            <a:avLst/>
            <a:gdLst>
              <a:gd name="connsiteX0" fmla="*/ 0 w 1028853"/>
              <a:gd name="connsiteY0" fmla="*/ 0 h 1087200"/>
              <a:gd name="connsiteX1" fmla="*/ 1028853 w 1028853"/>
              <a:gd name="connsiteY1" fmla="*/ 0 h 1087200"/>
              <a:gd name="connsiteX2" fmla="*/ 511439 w 1028853"/>
              <a:gd name="connsiteY2" fmla="*/ 1087200 h 1087200"/>
              <a:gd name="connsiteX3" fmla="*/ 0 w 1028853"/>
              <a:gd name="connsiteY3" fmla="*/ 0 h 1087200"/>
            </a:gdLst>
            <a:ahLst/>
            <a:cxnLst>
              <a:cxn ang="0">
                <a:pos x="connsiteX0" y="connsiteY0"/>
              </a:cxn>
              <a:cxn ang="0">
                <a:pos x="connsiteX1" y="connsiteY1"/>
              </a:cxn>
              <a:cxn ang="0">
                <a:pos x="connsiteX2" y="connsiteY2"/>
              </a:cxn>
              <a:cxn ang="0">
                <a:pos x="connsiteX3" y="connsiteY3"/>
              </a:cxn>
            </a:cxnLst>
            <a:rect l="l" t="t" r="r" b="b"/>
            <a:pathLst>
              <a:path w="1028853" h="1087200">
                <a:moveTo>
                  <a:pt x="0" y="0"/>
                </a:moveTo>
                <a:lnTo>
                  <a:pt x="1028853" y="0"/>
                </a:lnTo>
                <a:lnTo>
                  <a:pt x="511439" y="1087200"/>
                </a:lnTo>
                <a:cubicBezTo>
                  <a:pt x="511439" y="1087200"/>
                  <a:pt x="0" y="0"/>
                  <a:pt x="0" y="0"/>
                </a:cubicBezTo>
                <a:close/>
              </a:path>
            </a:pathLst>
          </a:custGeom>
          <a:solidFill>
            <a:srgbClr val="CEDC00">
              <a:alpha val="66000"/>
            </a:srgbClr>
          </a:solidFill>
          <a:ln w="12695" cap="flat">
            <a:noFill/>
            <a:prstDash val="solid"/>
            <a:miter/>
          </a:ln>
        </p:spPr>
        <p:txBody>
          <a:bodyPr rtlCol="0" anchor="ctr"/>
          <a:lstStyle/>
          <a:p>
            <a:endParaRPr lang="en-AU" sz="2263"/>
          </a:p>
        </p:txBody>
      </p:sp>
      <p:sp>
        <p:nvSpPr>
          <p:cNvPr id="48" name="Footer Placeholder 47">
            <a:extLst>
              <a:ext uri="{FF2B5EF4-FFF2-40B4-BE49-F238E27FC236}">
                <a16:creationId xmlns:a16="http://schemas.microsoft.com/office/drawing/2014/main" id="{3B780439-4CEB-319E-36A6-2245E0E90D82}"/>
              </a:ext>
            </a:extLst>
          </p:cNvPr>
          <p:cNvSpPr>
            <a:spLocks noGrp="1"/>
          </p:cNvSpPr>
          <p:nvPr>
            <p:ph type="ftr" sz="quarter" idx="30"/>
          </p:nvPr>
        </p:nvSpPr>
        <p:spPr/>
        <p:txBody>
          <a:bodyPr/>
          <a:lstStyle/>
          <a:p>
            <a:r>
              <a:rPr lang="en-GB"/>
              <a:t>To add a Footer, select 'Insert &gt; Header &amp; Footer'</a:t>
            </a:r>
            <a:endParaRPr lang="en-GB" dirty="0"/>
          </a:p>
        </p:txBody>
      </p:sp>
      <p:sp>
        <p:nvSpPr>
          <p:cNvPr id="49" name="Slide Number Placeholder 48">
            <a:extLst>
              <a:ext uri="{FF2B5EF4-FFF2-40B4-BE49-F238E27FC236}">
                <a16:creationId xmlns:a16="http://schemas.microsoft.com/office/drawing/2014/main" id="{E12E50E5-2AB4-40F8-DB59-DD28CB45376C}"/>
              </a:ext>
            </a:extLst>
          </p:cNvPr>
          <p:cNvSpPr>
            <a:spLocks noGrp="1"/>
          </p:cNvSpPr>
          <p:nvPr>
            <p:ph type="sldNum" sz="quarter" idx="31"/>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11432585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full width image">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660CC324-D8B6-FA03-A350-EA9CC846ABF1}"/>
              </a:ext>
            </a:extLst>
          </p:cNvPr>
          <p:cNvSpPr/>
          <p:nvPr userDrawn="1"/>
        </p:nvSpPr>
        <p:spPr>
          <a:xfrm>
            <a:off x="5418084" y="0"/>
            <a:ext cx="3039296" cy="3659583"/>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2263"/>
          </a:p>
        </p:txBody>
      </p:sp>
      <p:sp>
        <p:nvSpPr>
          <p:cNvPr id="61" name="Picture Placeholder 60">
            <a:extLst>
              <a:ext uri="{FF2B5EF4-FFF2-40B4-BE49-F238E27FC236}">
                <a16:creationId xmlns:a16="http://schemas.microsoft.com/office/drawing/2014/main" id="{BB41F336-5118-C5C9-E8E5-6A5CCDE66F58}"/>
              </a:ext>
            </a:extLst>
          </p:cNvPr>
          <p:cNvSpPr>
            <a:spLocks noGrp="1" noChangeAspect="1"/>
          </p:cNvSpPr>
          <p:nvPr>
            <p:ph type="pic" sz="quarter" idx="14" hasCustomPrompt="1"/>
          </p:nvPr>
        </p:nvSpPr>
        <p:spPr>
          <a:xfrm>
            <a:off x="-1" y="2461966"/>
            <a:ext cx="10700397" cy="4400882"/>
          </a:xfrm>
          <a:prstGeom prst="rect">
            <a:avLst/>
          </a:prstGeom>
          <a:solidFill>
            <a:schemeClr val="bg1">
              <a:lumMod val="75000"/>
            </a:schemeClr>
          </a:solidFill>
        </p:spPr>
        <p:txBody>
          <a:bodyPr wrap="square" lIns="504000" tIns="288000" rIns="5760000" bIns="360000" anchor="t" anchorCtr="0">
            <a:noAutofit/>
          </a:bodyPr>
          <a:lstStyle>
            <a:lvl1pPr algn="l">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568002" y="614693"/>
            <a:ext cx="5366953" cy="1587333"/>
          </a:xfrm>
        </p:spPr>
        <p:txBody>
          <a:bodyPr/>
          <a:lstStyle>
            <a:lvl1pPr marL="0" indent="0" algn="l">
              <a:buNone/>
              <a:defRPr sz="3417" b="0">
                <a:solidFill>
                  <a:schemeClr val="accent6"/>
                </a:solidFill>
              </a:defRPr>
            </a:lvl1pPr>
            <a:lvl2pPr marL="0" indent="0" algn="l">
              <a:buNone/>
              <a:defRPr sz="2535" b="0">
                <a:solidFill>
                  <a:schemeClr val="accent6"/>
                </a:solidFill>
              </a:defRPr>
            </a:lvl2pPr>
            <a:lvl3pPr marL="0" indent="0" algn="l">
              <a:buNone/>
              <a:defRPr sz="2535" b="0">
                <a:solidFill>
                  <a:schemeClr val="accent6"/>
                </a:solidFill>
              </a:defRPr>
            </a:lvl3pPr>
            <a:lvl4pPr marL="0" indent="0" algn="l">
              <a:buNone/>
              <a:defRPr sz="2535" b="0">
                <a:solidFill>
                  <a:schemeClr val="accent6"/>
                </a:solidFill>
              </a:defRPr>
            </a:lvl4pPr>
            <a:lvl5pPr marL="0" indent="0" algn="l">
              <a:buNone/>
              <a:defRPr sz="2535" b="0">
                <a:solidFill>
                  <a:schemeClr val="accent6"/>
                </a:solidFill>
              </a:defRPr>
            </a:lvl5pPr>
            <a:lvl6pPr marL="0" indent="0" algn="l">
              <a:buNone/>
              <a:defRPr sz="2535" b="0">
                <a:solidFill>
                  <a:schemeClr val="accent6"/>
                </a:solidFill>
              </a:defRPr>
            </a:lvl6pPr>
            <a:lvl7pPr marL="0" indent="0" algn="l">
              <a:buNone/>
              <a:defRPr sz="2535" b="0">
                <a:solidFill>
                  <a:schemeClr val="accent6"/>
                </a:solidFill>
              </a:defRPr>
            </a:lvl7pPr>
            <a:lvl8pPr marL="0" indent="0" algn="l">
              <a:buNone/>
              <a:defRPr sz="2535" b="0">
                <a:solidFill>
                  <a:schemeClr val="accent6"/>
                </a:solidFill>
              </a:defRPr>
            </a:lvl8pPr>
            <a:lvl9pPr marL="0" indent="0" algn="l">
              <a:buNone/>
              <a:defRPr sz="2535" b="0">
                <a:solidFill>
                  <a:schemeClr val="accent6"/>
                </a:solidFill>
              </a:defRPr>
            </a:lvl9pPr>
          </a:lstStyle>
          <a:p>
            <a:r>
              <a:rPr lang="en-AU" dirty="0"/>
              <a:t>Title heading-first level</a:t>
            </a:r>
            <a:endParaRPr lang="en-GB" dirty="0"/>
          </a:p>
          <a:p>
            <a:pPr lvl="1"/>
            <a:r>
              <a:rPr lang="en-US" dirty="0"/>
              <a:t>Subheading-second level</a:t>
            </a:r>
            <a:endParaRPr lang="en-GB" dirty="0"/>
          </a:p>
        </p:txBody>
      </p:sp>
      <p:sp>
        <p:nvSpPr>
          <p:cNvPr id="8" name="Footer Placeholder 7">
            <a:extLst>
              <a:ext uri="{FF2B5EF4-FFF2-40B4-BE49-F238E27FC236}">
                <a16:creationId xmlns:a16="http://schemas.microsoft.com/office/drawing/2014/main" id="{61E872F9-2264-1A70-83DD-6A9D9E266E05}"/>
              </a:ext>
            </a:extLst>
          </p:cNvPr>
          <p:cNvSpPr>
            <a:spLocks noGrp="1"/>
          </p:cNvSpPr>
          <p:nvPr>
            <p:ph type="ftr" sz="quarter" idx="16"/>
          </p:nvPr>
        </p:nvSpPr>
        <p:spPr/>
        <p:txBody>
          <a:bodyPr/>
          <a:lstStyle>
            <a:lvl1pPr>
              <a:defRPr>
                <a:solidFill>
                  <a:schemeClr val="accent6"/>
                </a:solidFill>
              </a:defRPr>
            </a:lvl1pPr>
          </a:lstStyle>
          <a:p>
            <a:r>
              <a:rPr lang="en-GB"/>
              <a:t>To add a Footer, select 'Insert &gt; Header &amp; Footer'</a:t>
            </a:r>
            <a:endParaRPr lang="en-GB" dirty="0"/>
          </a:p>
        </p:txBody>
      </p:sp>
      <p:sp>
        <p:nvSpPr>
          <p:cNvPr id="10" name="Slide Number Placeholder 9">
            <a:extLst>
              <a:ext uri="{FF2B5EF4-FFF2-40B4-BE49-F238E27FC236}">
                <a16:creationId xmlns:a16="http://schemas.microsoft.com/office/drawing/2014/main" id="{A9AE11B7-4DF9-5F56-C639-44F49C6B670E}"/>
              </a:ext>
            </a:extLst>
          </p:cNvPr>
          <p:cNvSpPr>
            <a:spLocks noGrp="1"/>
          </p:cNvSpPr>
          <p:nvPr>
            <p:ph type="sldNum" sz="quarter" idx="17"/>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dirty="0"/>
          </a:p>
        </p:txBody>
      </p:sp>
      <p:sp>
        <p:nvSpPr>
          <p:cNvPr id="18" name="Free-form: Shape 17">
            <a:extLst>
              <a:ext uri="{FF2B5EF4-FFF2-40B4-BE49-F238E27FC236}">
                <a16:creationId xmlns:a16="http://schemas.microsoft.com/office/drawing/2014/main" id="{E7A27014-865C-F1D4-CAF7-08476B875D17}"/>
              </a:ext>
            </a:extLst>
          </p:cNvPr>
          <p:cNvSpPr/>
          <p:nvPr userDrawn="1"/>
        </p:nvSpPr>
        <p:spPr>
          <a:xfrm>
            <a:off x="6350202" y="6861384"/>
            <a:ext cx="1877156" cy="698290"/>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2263"/>
          </a:p>
        </p:txBody>
      </p:sp>
      <p:cxnSp>
        <p:nvCxnSpPr>
          <p:cNvPr id="19" name="Straight Connector 18">
            <a:extLst>
              <a:ext uri="{FF2B5EF4-FFF2-40B4-BE49-F238E27FC236}">
                <a16:creationId xmlns:a16="http://schemas.microsoft.com/office/drawing/2014/main" id="{FA7A3D40-02AD-DBB9-335F-21278C945676}"/>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3D3D7C47-BE68-07DE-DF7D-956176BFA7C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07087" y="997347"/>
            <a:ext cx="1961508" cy="567943"/>
          </a:xfrm>
          <a:prstGeom prst="rect">
            <a:avLst/>
          </a:prstGeom>
        </p:spPr>
      </p:pic>
      <p:sp>
        <p:nvSpPr>
          <p:cNvPr id="37" name="Text Placeholder 36">
            <a:extLst>
              <a:ext uri="{FF2B5EF4-FFF2-40B4-BE49-F238E27FC236}">
                <a16:creationId xmlns:a16="http://schemas.microsoft.com/office/drawing/2014/main" id="{CFB86533-F1A5-7166-E415-5B35F9186D90}"/>
              </a:ext>
            </a:extLst>
          </p:cNvPr>
          <p:cNvSpPr>
            <a:spLocks noGrp="1" noChangeAspect="1"/>
          </p:cNvSpPr>
          <p:nvPr>
            <p:ph type="body" sz="quarter" idx="18"/>
          </p:nvPr>
        </p:nvSpPr>
        <p:spPr>
          <a:xfrm>
            <a:off x="6700954" y="5338110"/>
            <a:ext cx="1526405" cy="1523275"/>
          </a:xfrm>
          <a:custGeom>
            <a:avLst/>
            <a:gdLst>
              <a:gd name="connsiteX0" fmla="*/ 655955 w 1305433"/>
              <a:gd name="connsiteY0" fmla="*/ 0 h 1381887"/>
              <a:gd name="connsiteX1" fmla="*/ 1305433 w 1305433"/>
              <a:gd name="connsiteY1" fmla="*/ 1381887 h 1381887"/>
              <a:gd name="connsiteX2" fmla="*/ 0 w 1305433"/>
              <a:gd name="connsiteY2" fmla="*/ 1381887 h 1381887"/>
            </a:gdLst>
            <a:ahLst/>
            <a:cxnLst>
              <a:cxn ang="0">
                <a:pos x="connsiteX0" y="connsiteY0"/>
              </a:cxn>
              <a:cxn ang="0">
                <a:pos x="connsiteX1" y="connsiteY1"/>
              </a:cxn>
              <a:cxn ang="0">
                <a:pos x="connsiteX2" y="connsiteY2"/>
              </a:cxn>
            </a:cxnLst>
            <a:rect l="l" t="t" r="r" b="b"/>
            <a:pathLst>
              <a:path w="1305433" h="1381887">
                <a:moveTo>
                  <a:pt x="655955" y="0"/>
                </a:moveTo>
                <a:lnTo>
                  <a:pt x="1305433" y="1381887"/>
                </a:lnTo>
                <a:lnTo>
                  <a:pt x="0" y="1381887"/>
                </a:lnTo>
                <a:close/>
              </a:path>
            </a:pathLst>
          </a:custGeom>
          <a:solidFill>
            <a:schemeClr val="tx2">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0" name="Text Placeholder 2">
            <a:extLst>
              <a:ext uri="{FF2B5EF4-FFF2-40B4-BE49-F238E27FC236}">
                <a16:creationId xmlns:a16="http://schemas.microsoft.com/office/drawing/2014/main" id="{78EBBF75-4777-D465-98BA-F612C441DE8E}"/>
              </a:ext>
            </a:extLst>
          </p:cNvPr>
          <p:cNvSpPr>
            <a:spLocks noGrp="1" noChangeAspect="1"/>
          </p:cNvSpPr>
          <p:nvPr>
            <p:ph type="body" sz="quarter" idx="22"/>
          </p:nvPr>
        </p:nvSpPr>
        <p:spPr>
          <a:xfrm>
            <a:off x="7467943" y="5338109"/>
            <a:ext cx="1526544" cy="1523840"/>
          </a:xfrm>
          <a:custGeom>
            <a:avLst/>
            <a:gdLst>
              <a:gd name="connsiteX0" fmla="*/ 0 w 2119820"/>
              <a:gd name="connsiteY0" fmla="*/ 0 h 2244597"/>
              <a:gd name="connsiteX1" fmla="*/ 2119757 w 2119820"/>
              <a:gd name="connsiteY1" fmla="*/ 0 h 2244597"/>
              <a:gd name="connsiteX2" fmla="*/ 2119820 w 2119820"/>
              <a:gd name="connsiteY2" fmla="*/ 135 h 2244597"/>
              <a:gd name="connsiteX3" fmla="*/ 1054953 w 2119820"/>
              <a:gd name="connsiteY3" fmla="*/ 2244597 h 2244597"/>
              <a:gd name="connsiteX4" fmla="*/ 1054925 w 2119820"/>
              <a:gd name="connsiteY4" fmla="*/ 2244597 h 2244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9820" h="2244597">
                <a:moveTo>
                  <a:pt x="0" y="0"/>
                </a:moveTo>
                <a:lnTo>
                  <a:pt x="2119757" y="0"/>
                </a:lnTo>
                <a:lnTo>
                  <a:pt x="2119820" y="135"/>
                </a:lnTo>
                <a:lnTo>
                  <a:pt x="1054953" y="2244597"/>
                </a:lnTo>
                <a:lnTo>
                  <a:pt x="1054925" y="2244597"/>
                </a:lnTo>
                <a:close/>
              </a:path>
            </a:pathLst>
          </a:custGeom>
          <a:solidFill>
            <a:schemeClr val="tx2">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1" name="Text Placeholder 5">
            <a:extLst>
              <a:ext uri="{FF2B5EF4-FFF2-40B4-BE49-F238E27FC236}">
                <a16:creationId xmlns:a16="http://schemas.microsoft.com/office/drawing/2014/main" id="{5797021D-985E-0973-26CF-15DF51748122}"/>
              </a:ext>
            </a:extLst>
          </p:cNvPr>
          <p:cNvSpPr>
            <a:spLocks noGrp="1" noChangeAspect="1"/>
          </p:cNvSpPr>
          <p:nvPr>
            <p:ph type="body" sz="quarter" idx="23"/>
          </p:nvPr>
        </p:nvSpPr>
        <p:spPr>
          <a:xfrm>
            <a:off x="6016052" y="2461966"/>
            <a:ext cx="1203008" cy="1198437"/>
          </a:xfrm>
          <a:custGeom>
            <a:avLst/>
            <a:gdLst>
              <a:gd name="connsiteX0" fmla="*/ 0 w 1661668"/>
              <a:gd name="connsiteY0" fmla="*/ 0 h 1755902"/>
              <a:gd name="connsiteX1" fmla="*/ 1661668 w 1661668"/>
              <a:gd name="connsiteY1" fmla="*/ 0 h 1755902"/>
              <a:gd name="connsiteX2" fmla="*/ 826009 w 1661668"/>
              <a:gd name="connsiteY2" fmla="*/ 1755902 h 1755902"/>
              <a:gd name="connsiteX3" fmla="*/ 0 w 1661668"/>
              <a:gd name="connsiteY3" fmla="*/ 0 h 1755902"/>
            </a:gdLst>
            <a:ahLst/>
            <a:cxnLst>
              <a:cxn ang="0">
                <a:pos x="connsiteX0" y="connsiteY0"/>
              </a:cxn>
              <a:cxn ang="0">
                <a:pos x="connsiteX1" y="connsiteY1"/>
              </a:cxn>
              <a:cxn ang="0">
                <a:pos x="connsiteX2" y="connsiteY2"/>
              </a:cxn>
              <a:cxn ang="0">
                <a:pos x="connsiteX3" y="connsiteY3"/>
              </a:cxn>
            </a:cxnLst>
            <a:rect l="l" t="t" r="r" b="b"/>
            <a:pathLst>
              <a:path w="1661668" h="1755902">
                <a:moveTo>
                  <a:pt x="0" y="0"/>
                </a:moveTo>
                <a:lnTo>
                  <a:pt x="1661668" y="0"/>
                </a:lnTo>
                <a:lnTo>
                  <a:pt x="826009" y="1755902"/>
                </a:lnTo>
                <a:cubicBezTo>
                  <a:pt x="826009" y="1755902"/>
                  <a:pt x="0" y="0"/>
                  <a:pt x="0" y="0"/>
                </a:cubicBezTo>
                <a:close/>
              </a:path>
            </a:pathLst>
          </a:custGeom>
          <a:solidFill>
            <a:schemeClr val="accent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2" name="Text Placeholder 31">
            <a:extLst>
              <a:ext uri="{FF2B5EF4-FFF2-40B4-BE49-F238E27FC236}">
                <a16:creationId xmlns:a16="http://schemas.microsoft.com/office/drawing/2014/main" id="{EB2E7923-7ED8-1CD8-94BA-243F169D2D85}"/>
              </a:ext>
            </a:extLst>
          </p:cNvPr>
          <p:cNvSpPr>
            <a:spLocks noGrp="1"/>
          </p:cNvSpPr>
          <p:nvPr>
            <p:ph type="body" sz="quarter" idx="19"/>
          </p:nvPr>
        </p:nvSpPr>
        <p:spPr>
          <a:xfrm>
            <a:off x="4820679" y="2461966"/>
            <a:ext cx="1793997" cy="1197229"/>
          </a:xfrm>
          <a:custGeom>
            <a:avLst/>
            <a:gdLst>
              <a:gd name="connsiteX0" fmla="*/ 0 w 1534287"/>
              <a:gd name="connsiteY0" fmla="*/ 0 h 1086104"/>
              <a:gd name="connsiteX1" fmla="*/ 1023366 w 1534287"/>
              <a:gd name="connsiteY1" fmla="*/ 0 h 1086104"/>
              <a:gd name="connsiteX2" fmla="*/ 1534287 w 1534287"/>
              <a:gd name="connsiteY2" fmla="*/ 1086104 h 1086104"/>
              <a:gd name="connsiteX3" fmla="*/ 510921 w 1534287"/>
              <a:gd name="connsiteY3" fmla="*/ 1086104 h 1086104"/>
              <a:gd name="connsiteX4" fmla="*/ 0 w 1534287"/>
              <a:gd name="connsiteY4" fmla="*/ 0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0" y="0"/>
                </a:moveTo>
                <a:lnTo>
                  <a:pt x="1023366" y="0"/>
                </a:lnTo>
                <a:lnTo>
                  <a:pt x="1534287" y="1086104"/>
                </a:lnTo>
                <a:lnTo>
                  <a:pt x="510921" y="1086104"/>
                </a:lnTo>
                <a:cubicBezTo>
                  <a:pt x="510921" y="1086104"/>
                  <a:pt x="0" y="0"/>
                  <a:pt x="0" y="0"/>
                </a:cubicBezTo>
                <a:close/>
              </a:path>
            </a:pathLst>
          </a:custGeom>
          <a:solidFill>
            <a:schemeClr val="bg1">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5" name="Text Placeholder 24">
            <a:extLst>
              <a:ext uri="{FF2B5EF4-FFF2-40B4-BE49-F238E27FC236}">
                <a16:creationId xmlns:a16="http://schemas.microsoft.com/office/drawing/2014/main" id="{022B79C5-62BF-CA09-6885-DE822CF41B7A}"/>
              </a:ext>
            </a:extLst>
          </p:cNvPr>
          <p:cNvSpPr>
            <a:spLocks noGrp="1" noChangeAspect="1"/>
          </p:cNvSpPr>
          <p:nvPr>
            <p:ph type="body" sz="quarter" idx="20"/>
          </p:nvPr>
        </p:nvSpPr>
        <p:spPr>
          <a:xfrm>
            <a:off x="5418084" y="2461966"/>
            <a:ext cx="1203008" cy="1198437"/>
          </a:xfrm>
          <a:custGeom>
            <a:avLst/>
            <a:gdLst>
              <a:gd name="connsiteX0" fmla="*/ 835659 w 1661668"/>
              <a:gd name="connsiteY0" fmla="*/ 0 h 1755902"/>
              <a:gd name="connsiteX1" fmla="*/ 1661668 w 1661668"/>
              <a:gd name="connsiteY1" fmla="*/ 1755902 h 1755902"/>
              <a:gd name="connsiteX2" fmla="*/ 0 w 1661668"/>
              <a:gd name="connsiteY2" fmla="*/ 1755902 h 1755902"/>
            </a:gdLst>
            <a:ahLst/>
            <a:cxnLst>
              <a:cxn ang="0">
                <a:pos x="connsiteX0" y="connsiteY0"/>
              </a:cxn>
              <a:cxn ang="0">
                <a:pos x="connsiteX1" y="connsiteY1"/>
              </a:cxn>
              <a:cxn ang="0">
                <a:pos x="connsiteX2" y="connsiteY2"/>
              </a:cxn>
            </a:cxnLst>
            <a:rect l="l" t="t" r="r" b="b"/>
            <a:pathLst>
              <a:path w="1661668" h="1755902">
                <a:moveTo>
                  <a:pt x="835659" y="0"/>
                </a:moveTo>
                <a:cubicBezTo>
                  <a:pt x="835659" y="0"/>
                  <a:pt x="1661668" y="1755902"/>
                  <a:pt x="1661668" y="1755902"/>
                </a:cubicBezTo>
                <a:lnTo>
                  <a:pt x="0" y="1755902"/>
                </a:lnTo>
                <a:close/>
              </a:path>
            </a:pathLst>
          </a:custGeom>
          <a:solidFill>
            <a:schemeClr val="accent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9" name="Text Placeholder 38">
            <a:extLst>
              <a:ext uri="{FF2B5EF4-FFF2-40B4-BE49-F238E27FC236}">
                <a16:creationId xmlns:a16="http://schemas.microsoft.com/office/drawing/2014/main" id="{6599D0EC-660D-FC34-6C21-DA20DC3AEAB7}"/>
              </a:ext>
            </a:extLst>
          </p:cNvPr>
          <p:cNvSpPr>
            <a:spLocks noGrp="1"/>
          </p:cNvSpPr>
          <p:nvPr>
            <p:ph type="body" sz="quarter" idx="24"/>
          </p:nvPr>
        </p:nvSpPr>
        <p:spPr>
          <a:xfrm>
            <a:off x="7467941" y="5338110"/>
            <a:ext cx="2285375" cy="1523275"/>
          </a:xfrm>
          <a:custGeom>
            <a:avLst/>
            <a:gdLst>
              <a:gd name="connsiteX0" fmla="*/ 0 w 1954530"/>
              <a:gd name="connsiteY0" fmla="*/ 0 h 1381887"/>
              <a:gd name="connsiteX1" fmla="*/ 1305052 w 1954530"/>
              <a:gd name="connsiteY1" fmla="*/ 0 h 1381887"/>
              <a:gd name="connsiteX2" fmla="*/ 1954530 w 1954530"/>
              <a:gd name="connsiteY2" fmla="*/ 1381887 h 1381887"/>
              <a:gd name="connsiteX3" fmla="*/ 649478 w 1954530"/>
              <a:gd name="connsiteY3" fmla="*/ 1381887 h 1381887"/>
            </a:gdLst>
            <a:ahLst/>
            <a:cxnLst>
              <a:cxn ang="0">
                <a:pos x="connsiteX0" y="connsiteY0"/>
              </a:cxn>
              <a:cxn ang="0">
                <a:pos x="connsiteX1" y="connsiteY1"/>
              </a:cxn>
              <a:cxn ang="0">
                <a:pos x="connsiteX2" y="connsiteY2"/>
              </a:cxn>
              <a:cxn ang="0">
                <a:pos x="connsiteX3" y="connsiteY3"/>
              </a:cxn>
            </a:cxnLst>
            <a:rect l="l" t="t" r="r" b="b"/>
            <a:pathLst>
              <a:path w="1954530" h="1381887">
                <a:moveTo>
                  <a:pt x="0" y="0"/>
                </a:moveTo>
                <a:lnTo>
                  <a:pt x="1305052" y="0"/>
                </a:lnTo>
                <a:cubicBezTo>
                  <a:pt x="1305052" y="0"/>
                  <a:pt x="1954530" y="1381887"/>
                  <a:pt x="1954530" y="1381887"/>
                </a:cubicBezTo>
                <a:lnTo>
                  <a:pt x="649478" y="1381887"/>
                </a:lnTo>
                <a:close/>
              </a:path>
            </a:pathLst>
          </a:custGeom>
          <a:solidFill>
            <a:schemeClr val="bg1">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2436540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F60952-EFEB-073A-2890-058D4ABDFEC4}"/>
              </a:ext>
            </a:extLst>
          </p:cNvPr>
          <p:cNvGraphicFramePr>
            <a:graphicFrameLocks noChangeAspect="1"/>
          </p:cNvGraphicFramePr>
          <p:nvPr userDrawn="1">
            <p:custDataLst>
              <p:tags r:id="rId1"/>
            </p:custDataLst>
            <p:extLst>
              <p:ext uri="{D42A27DB-BD31-4B8C-83A1-F6EECF244321}">
                <p14:modId xmlns:p14="http://schemas.microsoft.com/office/powerpoint/2010/main" val="2237896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4" name="Object 3" hidden="1">
                        <a:extLst>
                          <a:ext uri="{FF2B5EF4-FFF2-40B4-BE49-F238E27FC236}">
                            <a16:creationId xmlns:a16="http://schemas.microsoft.com/office/drawing/2014/main" id="{1EF60952-EFEB-073A-2890-058D4ABDFE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lvl1pPr>
          </a:lstStyle>
          <a:p>
            <a:r>
              <a:rPr lang="en-US"/>
              <a:t>Click to edit Master title style</a:t>
            </a:r>
            <a:endParaRPr lang="en-GB" dirty="0"/>
          </a:p>
        </p:txBody>
      </p:sp>
      <p:sp>
        <p:nvSpPr>
          <p:cNvPr id="7" name="Content Placeholder 8">
            <a:extLst>
              <a:ext uri="{FF2B5EF4-FFF2-40B4-BE49-F238E27FC236}">
                <a16:creationId xmlns:a16="http://schemas.microsoft.com/office/drawing/2014/main" id="{90448248-0EB9-324F-5283-E3BF1DCAAEC8}"/>
              </a:ext>
            </a:extLst>
          </p:cNvPr>
          <p:cNvSpPr>
            <a:spLocks noGrp="1"/>
          </p:cNvSpPr>
          <p:nvPr>
            <p:ph sz="quarter" idx="14" hasCustomPrompt="1"/>
          </p:nvPr>
        </p:nvSpPr>
        <p:spPr>
          <a:xfrm>
            <a:off x="568001" y="2012413"/>
            <a:ext cx="8208282" cy="4365167"/>
          </a:xfrm>
        </p:spPr>
        <p:txBody>
          <a:bodyPr/>
          <a:lstStyle>
            <a:lvl1pPr>
              <a:defRPr/>
            </a:lvl1pPr>
          </a:lstStyle>
          <a:p>
            <a:pPr lvl="0"/>
            <a:r>
              <a:rPr lang="en-GB" dirty="0"/>
              <a:t>Click to add text, or click on one of the central icons to add a table, chart, SmartArt, image or media. Press the ‘Increase/Decrease’ button under the Home tab to move through the text styles.</a:t>
            </a:r>
            <a:endParaRPr lang="en-US" dirty="0"/>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908545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3" name="Content Placeholder 2"/>
          <p:cNvSpPr>
            <a:spLocks noGrp="1"/>
          </p:cNvSpPr>
          <p:nvPr>
            <p:ph sz="half" idx="1" hasCustomPrompt="1"/>
          </p:nvPr>
        </p:nvSpPr>
        <p:spPr>
          <a:xfrm>
            <a:off x="568001" y="2012413"/>
            <a:ext cx="3788438" cy="4365167"/>
          </a:xfrm>
        </p:spPr>
        <p:txBody>
          <a:bodyPr/>
          <a:lstStyle>
            <a:lvl1pPr>
              <a:defRPr/>
            </a:lvl1pPr>
          </a:lstStyle>
          <a:p>
            <a:pPr lvl="0"/>
            <a:r>
              <a:rPr lang="en-US" dirty="0"/>
              <a:t>This slide can be used for two text boxes, or text and: chart, SmartArt, image or table.</a:t>
            </a:r>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987845" y="2012413"/>
            <a:ext cx="3788438" cy="4365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Date Placeholder 8">
            <a:extLst>
              <a:ext uri="{FF2B5EF4-FFF2-40B4-BE49-F238E27FC236}">
                <a16:creationId xmlns:a16="http://schemas.microsoft.com/office/drawing/2014/main" id="{47A1DEDE-6AEA-86E9-4E33-2C1EA515B29B}"/>
              </a:ext>
            </a:extLst>
          </p:cNvPr>
          <p:cNvSpPr>
            <a:spLocks noGrp="1"/>
          </p:cNvSpPr>
          <p:nvPr>
            <p:ph type="dt" sz="half" idx="10"/>
          </p:nvPr>
        </p:nvSpPr>
        <p:spPr/>
        <p:txBody>
          <a:bodyPr/>
          <a:lstStyle/>
          <a:p>
            <a:fld id="{93472334-F3BF-4941-B066-A9089F7890EF}" type="datetime1">
              <a:rPr lang="en-GB" smtClean="0"/>
              <a:t>31/07/2023</a:t>
            </a:fld>
            <a:endParaRPr lang="en-GB" dirty="0"/>
          </a:p>
        </p:txBody>
      </p:sp>
      <p:sp>
        <p:nvSpPr>
          <p:cNvPr id="10" name="Footer Placeholder 9">
            <a:extLst>
              <a:ext uri="{FF2B5EF4-FFF2-40B4-BE49-F238E27FC236}">
                <a16:creationId xmlns:a16="http://schemas.microsoft.com/office/drawing/2014/main" id="{A2BBABFD-F4F5-2DE9-E006-D11D24911AFB}"/>
              </a:ext>
            </a:extLst>
          </p:cNvPr>
          <p:cNvSpPr>
            <a:spLocks noGrp="1"/>
          </p:cNvSpPr>
          <p:nvPr>
            <p:ph type="ftr" sz="quarter" idx="11"/>
          </p:nvPr>
        </p:nvSpPr>
        <p:spPr/>
        <p:txBody>
          <a:bodyPr/>
          <a:lstStyle/>
          <a:p>
            <a:r>
              <a:rPr lang="en-GB"/>
              <a:t>To add a Footer, select 'Insert &gt; Header &amp; Footer'</a:t>
            </a:r>
            <a:endParaRPr lang="en-GB" dirty="0"/>
          </a:p>
        </p:txBody>
      </p:sp>
      <p:sp>
        <p:nvSpPr>
          <p:cNvPr id="11" name="Slide Number Placeholder 10">
            <a:extLst>
              <a:ext uri="{FF2B5EF4-FFF2-40B4-BE49-F238E27FC236}">
                <a16:creationId xmlns:a16="http://schemas.microsoft.com/office/drawing/2014/main" id="{E07799FD-E5BC-A43F-4E9E-C3BC17F3CF7E}"/>
              </a:ext>
            </a:extLst>
          </p:cNvPr>
          <p:cNvSpPr>
            <a:spLocks noGrp="1"/>
          </p:cNvSpPr>
          <p:nvPr>
            <p:ph type="sldNum" sz="quarter" idx="12"/>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33188068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7" name="Content Placeholder 8">
            <a:extLst>
              <a:ext uri="{FF2B5EF4-FFF2-40B4-BE49-F238E27FC236}">
                <a16:creationId xmlns:a16="http://schemas.microsoft.com/office/drawing/2014/main" id="{90448248-0EB9-324F-5283-E3BF1DCAAEC8}"/>
              </a:ext>
            </a:extLst>
          </p:cNvPr>
          <p:cNvSpPr>
            <a:spLocks noGrp="1"/>
          </p:cNvSpPr>
          <p:nvPr>
            <p:ph sz="quarter" idx="14" hasCustomPrompt="1"/>
          </p:nvPr>
        </p:nvSpPr>
        <p:spPr>
          <a:xfrm>
            <a:off x="568001" y="2607662"/>
            <a:ext cx="8208282" cy="3769917"/>
          </a:xfrm>
        </p:spPr>
        <p:txBody>
          <a:bodyPr/>
          <a:lstStyle>
            <a:lvl1pPr>
              <a:defRPr/>
            </a:lvl1pPr>
          </a:lstStyle>
          <a:p>
            <a:pPr lvl="0"/>
            <a:r>
              <a:rPr lang="en-GB" dirty="0"/>
              <a:t>Select one of the central icons to add a table, chart, SmartArt, image or media</a:t>
            </a:r>
            <a:endParaRPr lang="en-US" dirty="0"/>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9">
            <a:extLst>
              <a:ext uri="{FF2B5EF4-FFF2-40B4-BE49-F238E27FC236}">
                <a16:creationId xmlns:a16="http://schemas.microsoft.com/office/drawing/2014/main" id="{6105EC4C-205A-AE42-AC77-45023A8CB0A6}"/>
              </a:ext>
            </a:extLst>
          </p:cNvPr>
          <p:cNvSpPr>
            <a:spLocks noGrp="1"/>
          </p:cNvSpPr>
          <p:nvPr>
            <p:ph type="dt" sz="half" idx="15"/>
          </p:nvPr>
        </p:nvSpPr>
        <p:spPr/>
        <p:txBody>
          <a:bodyPr/>
          <a:lstStyle/>
          <a:p>
            <a:fld id="{B95440ED-8C89-4301-B204-2D326E26EA6F}" type="datetime1">
              <a:rPr lang="en-GB" smtClean="0"/>
              <a:t>31/07/2023</a:t>
            </a:fld>
            <a:endParaRPr lang="en-GB" dirty="0"/>
          </a:p>
        </p:txBody>
      </p:sp>
      <p:sp>
        <p:nvSpPr>
          <p:cNvPr id="11" name="Footer Placeholder 10">
            <a:extLst>
              <a:ext uri="{FF2B5EF4-FFF2-40B4-BE49-F238E27FC236}">
                <a16:creationId xmlns:a16="http://schemas.microsoft.com/office/drawing/2014/main" id="{B0B0CA08-E061-255E-37AD-C77C63384A76}"/>
              </a:ext>
            </a:extLst>
          </p:cNvPr>
          <p:cNvSpPr>
            <a:spLocks noGrp="1"/>
          </p:cNvSpPr>
          <p:nvPr>
            <p:ph type="ftr" sz="quarter" idx="16"/>
          </p:nvPr>
        </p:nvSpPr>
        <p:spPr/>
        <p:txBody>
          <a:bodyPr/>
          <a:lstStyle/>
          <a:p>
            <a:r>
              <a:rPr lang="en-GB"/>
              <a:t>To add a Footer, select 'Insert &gt; Header &amp; Footer'</a:t>
            </a:r>
            <a:endParaRPr lang="en-GB" dirty="0"/>
          </a:p>
        </p:txBody>
      </p:sp>
      <p:sp>
        <p:nvSpPr>
          <p:cNvPr id="12" name="Slide Number Placeholder 11">
            <a:extLst>
              <a:ext uri="{FF2B5EF4-FFF2-40B4-BE49-F238E27FC236}">
                <a16:creationId xmlns:a16="http://schemas.microsoft.com/office/drawing/2014/main" id="{C310BF31-A4C3-377B-AEC6-33F3A1A293F1}"/>
              </a:ext>
            </a:extLst>
          </p:cNvPr>
          <p:cNvSpPr>
            <a:spLocks noGrp="1"/>
          </p:cNvSpPr>
          <p:nvPr>
            <p:ph type="sldNum" sz="quarter" idx="17"/>
          </p:nvPr>
        </p:nvSpPr>
        <p:spPr/>
        <p:txBody>
          <a:bodyPr/>
          <a:lstStyle/>
          <a:p>
            <a:r>
              <a:rPr lang="en-GB"/>
              <a:t>Page </a:t>
            </a:r>
            <a:fld id="{F5AEA0E0-5CC6-4BD0-905C-A0021E419432}" type="slidenum">
              <a:rPr lang="en-GB" smtClean="0"/>
              <a:pPr/>
              <a:t>‹#›</a:t>
            </a:fld>
            <a:endParaRPr lang="en-GB" dirty="0"/>
          </a:p>
        </p:txBody>
      </p:sp>
      <p:sp>
        <p:nvSpPr>
          <p:cNvPr id="4" name="Text Placeholder 3">
            <a:extLst>
              <a:ext uri="{FF2B5EF4-FFF2-40B4-BE49-F238E27FC236}">
                <a16:creationId xmlns:a16="http://schemas.microsoft.com/office/drawing/2014/main" id="{2D2EE1AF-A60C-0DAE-29BA-0F1D2FBF76CB}"/>
              </a:ext>
            </a:extLst>
          </p:cNvPr>
          <p:cNvSpPr>
            <a:spLocks noGrp="1"/>
          </p:cNvSpPr>
          <p:nvPr>
            <p:ph type="body" sz="quarter" idx="18" hasCustomPrompt="1"/>
          </p:nvPr>
        </p:nvSpPr>
        <p:spPr>
          <a:xfrm>
            <a:off x="568001" y="1805399"/>
            <a:ext cx="8208282" cy="595250"/>
          </a:xfrm>
        </p:spPr>
        <p:txBody>
          <a:bodyPr/>
          <a:lstStyle>
            <a:lvl1pPr>
              <a:defRPr/>
            </a:lvl1pPr>
          </a:lstStyle>
          <a:p>
            <a:pPr lvl="0"/>
            <a:r>
              <a:rPr lang="en-GB" dirty="0"/>
              <a:t>Click to add text</a:t>
            </a:r>
            <a:endParaRPr lang="en-AU" dirty="0"/>
          </a:p>
        </p:txBody>
      </p:sp>
    </p:spTree>
    <p:extLst>
      <p:ext uri="{BB962C8B-B14F-4D97-AF65-F5344CB8AC3E}">
        <p14:creationId xmlns:p14="http://schemas.microsoft.com/office/powerpoint/2010/main" val="34654065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text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0DFAE338-542F-062A-113E-84D5DEAC9297}"/>
              </a:ext>
            </a:extLst>
          </p:cNvPr>
          <p:cNvSpPr>
            <a:spLocks noGrp="1" noChangeAspect="1"/>
          </p:cNvSpPr>
          <p:nvPr>
            <p:ph type="pic" sz="quarter" idx="14" hasCustomPrompt="1"/>
          </p:nvPr>
        </p:nvSpPr>
        <p:spPr>
          <a:xfrm>
            <a:off x="5665175" y="1580922"/>
            <a:ext cx="5020260" cy="5281729"/>
          </a:xfrm>
          <a:custGeom>
            <a:avLst/>
            <a:gdLst>
              <a:gd name="connsiteX0" fmla="*/ 2272483 w 4293496"/>
              <a:gd name="connsiteY0" fmla="*/ 0 h 4791489"/>
              <a:gd name="connsiteX1" fmla="*/ 4293496 w 4293496"/>
              <a:gd name="connsiteY1" fmla="*/ 0 h 4791489"/>
              <a:gd name="connsiteX2" fmla="*/ 4293496 w 4293496"/>
              <a:gd name="connsiteY2" fmla="*/ 4791489 h 4791489"/>
              <a:gd name="connsiteX3" fmla="*/ 0 w 4293496"/>
              <a:gd name="connsiteY3" fmla="*/ 4791489 h 4791489"/>
            </a:gdLst>
            <a:ahLst/>
            <a:cxnLst>
              <a:cxn ang="0">
                <a:pos x="connsiteX0" y="connsiteY0"/>
              </a:cxn>
              <a:cxn ang="0">
                <a:pos x="connsiteX1" y="connsiteY1"/>
              </a:cxn>
              <a:cxn ang="0">
                <a:pos x="connsiteX2" y="connsiteY2"/>
              </a:cxn>
              <a:cxn ang="0">
                <a:pos x="connsiteX3" y="connsiteY3"/>
              </a:cxn>
            </a:cxnLst>
            <a:rect l="l" t="t" r="r" b="b"/>
            <a:pathLst>
              <a:path w="4293496" h="4791489">
                <a:moveTo>
                  <a:pt x="2272483" y="0"/>
                </a:moveTo>
                <a:lnTo>
                  <a:pt x="4293496" y="0"/>
                </a:lnTo>
                <a:lnTo>
                  <a:pt x="4293496" y="4791489"/>
                </a:lnTo>
                <a:lnTo>
                  <a:pt x="0" y="4791489"/>
                </a:lnTo>
                <a:close/>
              </a:path>
            </a:pathLst>
          </a:custGeom>
          <a:solidFill>
            <a:schemeClr val="bg1">
              <a:lumMod val="75000"/>
            </a:schemeClr>
          </a:solidFill>
        </p:spPr>
        <p:txBody>
          <a:bodyPr wrap="square" lIns="2520000" tIns="288000" rIns="360000" bIns="360000" anchor="t" anchorCtr="0">
            <a:noAutofit/>
          </a:bodyPr>
          <a:lstStyle>
            <a:lvl1pPr algn="r">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10" name="Text Placeholder 8">
            <a:extLst>
              <a:ext uri="{FF2B5EF4-FFF2-40B4-BE49-F238E27FC236}">
                <a16:creationId xmlns:a16="http://schemas.microsoft.com/office/drawing/2014/main" id="{3399DAD4-A874-4EAB-AB3C-820568E6E783}"/>
              </a:ext>
            </a:extLst>
          </p:cNvPr>
          <p:cNvSpPr>
            <a:spLocks noGrp="1"/>
          </p:cNvSpPr>
          <p:nvPr>
            <p:ph type="body" sz="quarter" idx="13"/>
          </p:nvPr>
        </p:nvSpPr>
        <p:spPr>
          <a:xfrm>
            <a:off x="568000" y="2012413"/>
            <a:ext cx="6945469" cy="4365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 name="Title 2">
            <a:extLst>
              <a:ext uri="{FF2B5EF4-FFF2-40B4-BE49-F238E27FC236}">
                <a16:creationId xmlns:a16="http://schemas.microsoft.com/office/drawing/2014/main" id="{564EBA4A-B347-103C-AA7B-74A81B6E6CA7}"/>
              </a:ext>
            </a:extLst>
          </p:cNvPr>
          <p:cNvSpPr>
            <a:spLocks noGrp="1"/>
          </p:cNvSpPr>
          <p:nvPr>
            <p:ph type="title"/>
          </p:nvPr>
        </p:nvSpPr>
        <p:spPr>
          <a:xfrm>
            <a:off x="568000" y="423804"/>
            <a:ext cx="6945469" cy="793667"/>
          </a:xfrm>
        </p:spPr>
        <p:txBody>
          <a:bodyPr/>
          <a:lstStyle/>
          <a:p>
            <a:r>
              <a:rPr lang="en-US"/>
              <a:t>Click to edit Master title style</a:t>
            </a:r>
            <a:endParaRPr lang="en-AU" dirty="0"/>
          </a:p>
        </p:txBody>
      </p:sp>
      <p:sp>
        <p:nvSpPr>
          <p:cNvPr id="11" name="Text Placeholder 10">
            <a:extLst>
              <a:ext uri="{FF2B5EF4-FFF2-40B4-BE49-F238E27FC236}">
                <a16:creationId xmlns:a16="http://schemas.microsoft.com/office/drawing/2014/main" id="{3B49C342-B9AA-BE4C-DBA6-A414FD6F6656}"/>
              </a:ext>
            </a:extLst>
          </p:cNvPr>
          <p:cNvSpPr>
            <a:spLocks noGrp="1"/>
          </p:cNvSpPr>
          <p:nvPr>
            <p:ph type="body" sz="quarter" idx="16"/>
          </p:nvPr>
        </p:nvSpPr>
        <p:spPr>
          <a:xfrm>
            <a:off x="9399417" y="4302722"/>
            <a:ext cx="1286018" cy="2559928"/>
          </a:xfrm>
          <a:custGeom>
            <a:avLst/>
            <a:gdLst>
              <a:gd name="connsiteX0" fmla="*/ 1099846 w 1099846"/>
              <a:gd name="connsiteY0" fmla="*/ 0 h 2322320"/>
              <a:gd name="connsiteX1" fmla="*/ 1099846 w 1099846"/>
              <a:gd name="connsiteY1" fmla="*/ 2322320 h 2322320"/>
              <a:gd name="connsiteX2" fmla="*/ 0 w 1099846"/>
              <a:gd name="connsiteY2" fmla="*/ 2322320 h 2322320"/>
            </a:gdLst>
            <a:ahLst/>
            <a:cxnLst>
              <a:cxn ang="0">
                <a:pos x="connsiteX0" y="connsiteY0"/>
              </a:cxn>
              <a:cxn ang="0">
                <a:pos x="connsiteX1" y="connsiteY1"/>
              </a:cxn>
              <a:cxn ang="0">
                <a:pos x="connsiteX2" y="connsiteY2"/>
              </a:cxn>
            </a:cxnLst>
            <a:rect l="l" t="t" r="r" b="b"/>
            <a:pathLst>
              <a:path w="1099846" h="2322320">
                <a:moveTo>
                  <a:pt x="1099846" y="0"/>
                </a:moveTo>
                <a:lnTo>
                  <a:pt x="1099846" y="2322320"/>
                </a:lnTo>
                <a:lnTo>
                  <a:pt x="0" y="2322320"/>
                </a:lnTo>
                <a:close/>
              </a:path>
            </a:pathLst>
          </a:custGeom>
          <a:solidFill>
            <a:schemeClr val="tx2">
              <a:alpha val="65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9" name="Date Placeholder 38">
            <a:extLst>
              <a:ext uri="{FF2B5EF4-FFF2-40B4-BE49-F238E27FC236}">
                <a16:creationId xmlns:a16="http://schemas.microsoft.com/office/drawing/2014/main" id="{F698BA25-4BD0-67D4-7C71-C0E01B8EC811}"/>
              </a:ext>
            </a:extLst>
          </p:cNvPr>
          <p:cNvSpPr>
            <a:spLocks noGrp="1"/>
          </p:cNvSpPr>
          <p:nvPr>
            <p:ph type="dt" sz="half" idx="17"/>
          </p:nvPr>
        </p:nvSpPr>
        <p:spPr/>
        <p:txBody>
          <a:bodyPr/>
          <a:lstStyle/>
          <a:p>
            <a:fld id="{920A0E56-D0C5-4B3E-813B-A90A31A1DAA6}" type="datetime1">
              <a:rPr lang="en-GB" smtClean="0"/>
              <a:t>31/07/2023</a:t>
            </a:fld>
            <a:endParaRPr lang="en-GB" dirty="0"/>
          </a:p>
        </p:txBody>
      </p:sp>
      <p:sp>
        <p:nvSpPr>
          <p:cNvPr id="40" name="Footer Placeholder 39">
            <a:extLst>
              <a:ext uri="{FF2B5EF4-FFF2-40B4-BE49-F238E27FC236}">
                <a16:creationId xmlns:a16="http://schemas.microsoft.com/office/drawing/2014/main" id="{9C50C287-886F-8EE0-566B-F65B7FD7A54F}"/>
              </a:ext>
            </a:extLst>
          </p:cNvPr>
          <p:cNvSpPr>
            <a:spLocks noGrp="1"/>
          </p:cNvSpPr>
          <p:nvPr>
            <p:ph type="ftr" sz="quarter" idx="18"/>
          </p:nvPr>
        </p:nvSpPr>
        <p:spPr/>
        <p:txBody>
          <a:bodyPr/>
          <a:lstStyle/>
          <a:p>
            <a:r>
              <a:rPr lang="en-GB"/>
              <a:t>To add a Footer, select 'Insert &gt; Header &amp; Footer'</a:t>
            </a:r>
            <a:endParaRPr lang="en-GB" dirty="0"/>
          </a:p>
        </p:txBody>
      </p:sp>
      <p:sp>
        <p:nvSpPr>
          <p:cNvPr id="41" name="Slide Number Placeholder 40">
            <a:extLst>
              <a:ext uri="{FF2B5EF4-FFF2-40B4-BE49-F238E27FC236}">
                <a16:creationId xmlns:a16="http://schemas.microsoft.com/office/drawing/2014/main" id="{ECB20DFD-4DFE-0F76-52E2-4F336B547E1E}"/>
              </a:ext>
            </a:extLst>
          </p:cNvPr>
          <p:cNvSpPr>
            <a:spLocks noGrp="1"/>
          </p:cNvSpPr>
          <p:nvPr>
            <p:ph type="sldNum" sz="quarter" idx="19"/>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2961877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laarge image">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84F04595-8F0F-9159-49EE-2EF24C129E8A}"/>
              </a:ext>
            </a:extLst>
          </p:cNvPr>
          <p:cNvSpPr>
            <a:spLocks noGrp="1" noChangeAspect="1"/>
          </p:cNvSpPr>
          <p:nvPr>
            <p:ph type="pic" sz="quarter" idx="14" hasCustomPrompt="1"/>
          </p:nvPr>
        </p:nvSpPr>
        <p:spPr>
          <a:xfrm>
            <a:off x="0" y="1580922"/>
            <a:ext cx="10691813" cy="5271343"/>
          </a:xfrm>
          <a:prstGeom prst="rect">
            <a:avLst/>
          </a:prstGeom>
          <a:solidFill>
            <a:schemeClr val="bg1">
              <a:lumMod val="75000"/>
            </a:schemeClr>
          </a:solidFill>
        </p:spPr>
        <p:txBody>
          <a:bodyPr wrap="square" lIns="648000" tIns="288000" rIns="4320000" bIns="360000" anchor="t" anchorCtr="0">
            <a:noAutofit/>
          </a:bodyPr>
          <a:lstStyle>
            <a:lvl1pPr algn="l">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3" name="Title 2">
            <a:extLst>
              <a:ext uri="{FF2B5EF4-FFF2-40B4-BE49-F238E27FC236}">
                <a16:creationId xmlns:a16="http://schemas.microsoft.com/office/drawing/2014/main" id="{564EBA4A-B347-103C-AA7B-74A81B6E6CA7}"/>
              </a:ext>
            </a:extLst>
          </p:cNvPr>
          <p:cNvSpPr>
            <a:spLocks noGrp="1"/>
          </p:cNvSpPr>
          <p:nvPr>
            <p:ph type="title"/>
          </p:nvPr>
        </p:nvSpPr>
        <p:spPr>
          <a:xfrm>
            <a:off x="568001" y="423804"/>
            <a:ext cx="4419844" cy="793667"/>
          </a:xfrm>
        </p:spPr>
        <p:txBody>
          <a:bodyPr/>
          <a:lstStyle/>
          <a:p>
            <a:r>
              <a:rPr lang="en-US"/>
              <a:t>Click to edit Master title style</a:t>
            </a:r>
            <a:endParaRPr lang="en-AU" dirty="0"/>
          </a:p>
        </p:txBody>
      </p:sp>
      <p:sp>
        <p:nvSpPr>
          <p:cNvPr id="2" name="Date Placeholder 1">
            <a:extLst>
              <a:ext uri="{FF2B5EF4-FFF2-40B4-BE49-F238E27FC236}">
                <a16:creationId xmlns:a16="http://schemas.microsoft.com/office/drawing/2014/main" id="{029D1A89-6D04-E6B7-642A-FC4A5D65F2FE}"/>
              </a:ext>
            </a:extLst>
          </p:cNvPr>
          <p:cNvSpPr>
            <a:spLocks noGrp="1"/>
          </p:cNvSpPr>
          <p:nvPr>
            <p:ph type="dt" sz="half" idx="17"/>
          </p:nvPr>
        </p:nvSpPr>
        <p:spPr/>
        <p:txBody>
          <a:bodyPr/>
          <a:lstStyle>
            <a:lvl1pPr>
              <a:defRPr>
                <a:solidFill>
                  <a:schemeClr val="accent6"/>
                </a:solidFill>
              </a:defRPr>
            </a:lvl1pPr>
          </a:lstStyle>
          <a:p>
            <a:fld id="{3C048CFF-D5A4-4BED-AD1A-14E8D2CBA798}" type="datetime1">
              <a:rPr lang="en-GB" smtClean="0"/>
              <a:pPr/>
              <a:t>31/07/2023</a:t>
            </a:fld>
            <a:endParaRPr lang="en-GB" dirty="0"/>
          </a:p>
        </p:txBody>
      </p:sp>
      <p:sp>
        <p:nvSpPr>
          <p:cNvPr id="4" name="Footer Placeholder 3">
            <a:extLst>
              <a:ext uri="{FF2B5EF4-FFF2-40B4-BE49-F238E27FC236}">
                <a16:creationId xmlns:a16="http://schemas.microsoft.com/office/drawing/2014/main" id="{EF0ACF10-A8A1-158D-77C0-F1470495E064}"/>
              </a:ext>
            </a:extLst>
          </p:cNvPr>
          <p:cNvSpPr>
            <a:spLocks noGrp="1"/>
          </p:cNvSpPr>
          <p:nvPr>
            <p:ph type="ftr" sz="quarter" idx="18"/>
          </p:nvPr>
        </p:nvSpPr>
        <p:spPr/>
        <p:txBody>
          <a:bodyPr/>
          <a:lstStyle>
            <a:lvl1pPr>
              <a:defRPr>
                <a:solidFill>
                  <a:schemeClr val="accent6"/>
                </a:solidFill>
              </a:defRPr>
            </a:lvl1pPr>
          </a:lstStyle>
          <a:p>
            <a:r>
              <a:rPr lang="en-GB"/>
              <a:t>To add a Footer, select 'Insert &gt; Header &amp; Footer'</a:t>
            </a:r>
            <a:endParaRPr lang="en-GB" dirty="0"/>
          </a:p>
        </p:txBody>
      </p:sp>
      <p:sp>
        <p:nvSpPr>
          <p:cNvPr id="8" name="Slide Number Placeholder 7">
            <a:extLst>
              <a:ext uri="{FF2B5EF4-FFF2-40B4-BE49-F238E27FC236}">
                <a16:creationId xmlns:a16="http://schemas.microsoft.com/office/drawing/2014/main" id="{17DED0C4-FEDA-7F07-651E-81D65BEE7C93}"/>
              </a:ext>
            </a:extLst>
          </p:cNvPr>
          <p:cNvSpPr>
            <a:spLocks noGrp="1"/>
          </p:cNvSpPr>
          <p:nvPr>
            <p:ph type="sldNum" sz="quarter" idx="19"/>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dirty="0"/>
          </a:p>
        </p:txBody>
      </p:sp>
      <p:sp>
        <p:nvSpPr>
          <p:cNvPr id="7" name="Text Placeholder 6">
            <a:extLst>
              <a:ext uri="{FF2B5EF4-FFF2-40B4-BE49-F238E27FC236}">
                <a16:creationId xmlns:a16="http://schemas.microsoft.com/office/drawing/2014/main" id="{F2C391D5-CDF7-2EA7-BE15-53AD611FD5D2}"/>
              </a:ext>
            </a:extLst>
          </p:cNvPr>
          <p:cNvSpPr>
            <a:spLocks noGrp="1"/>
          </p:cNvSpPr>
          <p:nvPr>
            <p:ph type="body" sz="quarter" idx="16"/>
          </p:nvPr>
        </p:nvSpPr>
        <p:spPr>
          <a:xfrm>
            <a:off x="5665175" y="1580922"/>
            <a:ext cx="5020260" cy="5281729"/>
          </a:xfrm>
          <a:custGeom>
            <a:avLst/>
            <a:gdLst>
              <a:gd name="connsiteX0" fmla="*/ 2272483 w 4293496"/>
              <a:gd name="connsiteY0" fmla="*/ 0 h 4791489"/>
              <a:gd name="connsiteX1" fmla="*/ 4293496 w 4293496"/>
              <a:gd name="connsiteY1" fmla="*/ 0 h 4791489"/>
              <a:gd name="connsiteX2" fmla="*/ 4293496 w 4293496"/>
              <a:gd name="connsiteY2" fmla="*/ 4791489 h 4791489"/>
              <a:gd name="connsiteX3" fmla="*/ 0 w 4293496"/>
              <a:gd name="connsiteY3" fmla="*/ 4791489 h 4791489"/>
            </a:gdLst>
            <a:ahLst/>
            <a:cxnLst>
              <a:cxn ang="0">
                <a:pos x="connsiteX0" y="connsiteY0"/>
              </a:cxn>
              <a:cxn ang="0">
                <a:pos x="connsiteX1" y="connsiteY1"/>
              </a:cxn>
              <a:cxn ang="0">
                <a:pos x="connsiteX2" y="connsiteY2"/>
              </a:cxn>
              <a:cxn ang="0">
                <a:pos x="connsiteX3" y="connsiteY3"/>
              </a:cxn>
            </a:cxnLst>
            <a:rect l="l" t="t" r="r" b="b"/>
            <a:pathLst>
              <a:path w="4293496" h="4791489">
                <a:moveTo>
                  <a:pt x="2272483" y="0"/>
                </a:moveTo>
                <a:lnTo>
                  <a:pt x="4293496" y="0"/>
                </a:lnTo>
                <a:lnTo>
                  <a:pt x="4293496" y="4791489"/>
                </a:lnTo>
                <a:lnTo>
                  <a:pt x="0" y="4791489"/>
                </a:lnTo>
                <a:close/>
              </a:path>
            </a:pathLst>
          </a:custGeom>
          <a:solidFill>
            <a:schemeClr val="tx2">
              <a:alpha val="65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11011047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7AD34C0-2B69-0CD4-3E46-603BBC6C59EF}"/>
              </a:ext>
            </a:extLst>
          </p:cNvPr>
          <p:cNvGraphicFramePr>
            <a:graphicFrameLocks noChangeAspect="1"/>
          </p:cNvGraphicFramePr>
          <p:nvPr userDrawn="1">
            <p:custDataLst>
              <p:tags r:id="rId22"/>
            </p:custDataLst>
            <p:extLst>
              <p:ext uri="{D42A27DB-BD31-4B8C-83A1-F6EECF244321}">
                <p14:modId xmlns:p14="http://schemas.microsoft.com/office/powerpoint/2010/main" val="1000056736"/>
              </p:ext>
            </p:extLst>
          </p:nvPr>
        </p:nvGraphicFramePr>
        <p:xfrm>
          <a:off x="1857" y="1751"/>
          <a:ext cx="1857" cy="1750"/>
        </p:xfrm>
        <a:graphic>
          <a:graphicData uri="http://schemas.openxmlformats.org/presentationml/2006/ole">
            <mc:AlternateContent xmlns:mc="http://schemas.openxmlformats.org/markup-compatibility/2006">
              <mc:Choice xmlns:v="urn:schemas-microsoft-com:vml" Requires="v">
                <p:oleObj name="think-cell Slide" r:id="rId23" imgW="328" imgH="328" progId="TCLayout.ActiveDocument.1">
                  <p:embed/>
                </p:oleObj>
              </mc:Choice>
              <mc:Fallback>
                <p:oleObj name="think-cell Slide" r:id="rId23" imgW="328" imgH="328" progId="TCLayout.ActiveDocument.1">
                  <p:embed/>
                  <p:pic>
                    <p:nvPicPr>
                      <p:cNvPr id="9" name="Object 8" hidden="1">
                        <a:extLst>
                          <a:ext uri="{FF2B5EF4-FFF2-40B4-BE49-F238E27FC236}">
                            <a16:creationId xmlns:a16="http://schemas.microsoft.com/office/drawing/2014/main" id="{67AD34C0-2B69-0CD4-3E46-603BBC6C59EF}"/>
                          </a:ext>
                        </a:extLst>
                      </p:cNvPr>
                      <p:cNvPicPr/>
                      <p:nvPr/>
                    </p:nvPicPr>
                    <p:blipFill>
                      <a:blip r:embed="rId24"/>
                      <a:stretch>
                        <a:fillRect/>
                      </a:stretch>
                    </p:blipFill>
                    <p:spPr>
                      <a:xfrm>
                        <a:off x="1857" y="1751"/>
                        <a:ext cx="1857" cy="1750"/>
                      </a:xfrm>
                      <a:prstGeom prst="rect">
                        <a:avLst/>
                      </a:prstGeom>
                    </p:spPr>
                  </p:pic>
                </p:oleObj>
              </mc:Fallback>
            </mc:AlternateContent>
          </a:graphicData>
        </a:graphic>
      </p:graphicFrame>
      <p:sp>
        <p:nvSpPr>
          <p:cNvPr id="38" name="Free-form: Shape 37">
            <a:extLst>
              <a:ext uri="{FF2B5EF4-FFF2-40B4-BE49-F238E27FC236}">
                <a16:creationId xmlns:a16="http://schemas.microsoft.com/office/drawing/2014/main" id="{DEE5F1F6-308B-BAE5-E04C-67ACD64873A7}"/>
              </a:ext>
            </a:extLst>
          </p:cNvPr>
          <p:cNvSpPr/>
          <p:nvPr userDrawn="1"/>
        </p:nvSpPr>
        <p:spPr>
          <a:xfrm>
            <a:off x="0" y="0"/>
            <a:ext cx="10691813" cy="1587333"/>
          </a:xfrm>
          <a:custGeom>
            <a:avLst/>
            <a:gdLst>
              <a:gd name="connsiteX0" fmla="*/ 0 w 12192000"/>
              <a:gd name="connsiteY0" fmla="*/ 0 h 1270000"/>
              <a:gd name="connsiteX1" fmla="*/ 12192000 w 12192000"/>
              <a:gd name="connsiteY1" fmla="*/ 0 h 1270000"/>
              <a:gd name="connsiteX2" fmla="*/ 12192000 w 12192000"/>
              <a:gd name="connsiteY2" fmla="*/ 1270000 h 1270000"/>
              <a:gd name="connsiteX3" fmla="*/ 0 w 121920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12192000" h="1270000">
                <a:moveTo>
                  <a:pt x="0" y="0"/>
                </a:moveTo>
                <a:lnTo>
                  <a:pt x="12192000" y="0"/>
                </a:lnTo>
                <a:lnTo>
                  <a:pt x="12192000" y="1270000"/>
                </a:lnTo>
                <a:lnTo>
                  <a:pt x="0" y="1270000"/>
                </a:lnTo>
                <a:close/>
              </a:path>
            </a:pathLst>
          </a:custGeom>
          <a:solidFill>
            <a:srgbClr val="E0EDF8"/>
          </a:solidFill>
          <a:ln w="6350" cap="flat">
            <a:noFill/>
            <a:prstDash val="solid"/>
            <a:miter/>
          </a:ln>
        </p:spPr>
        <p:txBody>
          <a:bodyPr rtlCol="0" anchor="ctr"/>
          <a:lstStyle/>
          <a:p>
            <a:endParaRPr lang="en-AU" sz="1984"/>
          </a:p>
        </p:txBody>
      </p:sp>
      <p:grpSp>
        <p:nvGrpSpPr>
          <p:cNvPr id="11" name="Group 10">
            <a:extLst>
              <a:ext uri="{FF2B5EF4-FFF2-40B4-BE49-F238E27FC236}">
                <a16:creationId xmlns:a16="http://schemas.microsoft.com/office/drawing/2014/main" id="{C0F69CC5-725A-DC9C-EE57-E4195036E597}"/>
              </a:ext>
            </a:extLst>
          </p:cNvPr>
          <p:cNvGrpSpPr/>
          <p:nvPr userDrawn="1"/>
        </p:nvGrpSpPr>
        <p:grpSpPr>
          <a:xfrm>
            <a:off x="8321427" y="0"/>
            <a:ext cx="2370387" cy="1587333"/>
            <a:chOff x="7792497" y="1"/>
            <a:chExt cx="1351502" cy="1269998"/>
          </a:xfrm>
        </p:grpSpPr>
        <p:sp>
          <p:nvSpPr>
            <p:cNvPr id="39" name="Free-form: Shape 38">
              <a:extLst>
                <a:ext uri="{FF2B5EF4-FFF2-40B4-BE49-F238E27FC236}">
                  <a16:creationId xmlns:a16="http://schemas.microsoft.com/office/drawing/2014/main" id="{ACD74EFB-1EB2-C902-2EB7-7A5AC47A3130}"/>
                </a:ext>
              </a:extLst>
            </p:cNvPr>
            <p:cNvSpPr/>
            <p:nvPr userDrawn="1"/>
          </p:nvSpPr>
          <p:spPr>
            <a:xfrm>
              <a:off x="7792497" y="600837"/>
              <a:ext cx="712232" cy="669162"/>
            </a:xfrm>
            <a:custGeom>
              <a:avLst/>
              <a:gdLst>
                <a:gd name="connsiteX0" fmla="*/ 316547 w 949642"/>
                <a:gd name="connsiteY0" fmla="*/ 0 h 669162"/>
                <a:gd name="connsiteX1" fmla="*/ 0 w 949642"/>
                <a:gd name="connsiteY1" fmla="*/ 669163 h 669162"/>
                <a:gd name="connsiteX2" fmla="*/ 633095 w 949642"/>
                <a:gd name="connsiteY2" fmla="*/ 669163 h 669162"/>
                <a:gd name="connsiteX3" fmla="*/ 949643 w 949642"/>
                <a:gd name="connsiteY3" fmla="*/ 0 h 669162"/>
                <a:gd name="connsiteX4" fmla="*/ 316547 w 949642"/>
                <a:gd name="connsiteY4" fmla="*/ 0 h 669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42" h="669162">
                  <a:moveTo>
                    <a:pt x="316547" y="0"/>
                  </a:moveTo>
                  <a:lnTo>
                    <a:pt x="0" y="669163"/>
                  </a:lnTo>
                  <a:lnTo>
                    <a:pt x="633095" y="669163"/>
                  </a:lnTo>
                  <a:cubicBezTo>
                    <a:pt x="633095" y="669163"/>
                    <a:pt x="949643" y="0"/>
                    <a:pt x="949643" y="0"/>
                  </a:cubicBezTo>
                  <a:lnTo>
                    <a:pt x="316547" y="0"/>
                  </a:lnTo>
                  <a:close/>
                </a:path>
              </a:pathLst>
            </a:custGeom>
            <a:solidFill>
              <a:srgbClr val="00B1A8"/>
            </a:solidFill>
            <a:ln w="6350" cap="flat">
              <a:noFill/>
              <a:prstDash val="solid"/>
              <a:miter/>
            </a:ln>
          </p:spPr>
          <p:txBody>
            <a:bodyPr rtlCol="0" anchor="ctr"/>
            <a:lstStyle/>
            <a:p>
              <a:endParaRPr lang="en-AU" sz="1984"/>
            </a:p>
          </p:txBody>
        </p:sp>
        <p:sp>
          <p:nvSpPr>
            <p:cNvPr id="40" name="Free-form: Shape 39">
              <a:extLst>
                <a:ext uri="{FF2B5EF4-FFF2-40B4-BE49-F238E27FC236}">
                  <a16:creationId xmlns:a16="http://schemas.microsoft.com/office/drawing/2014/main" id="{E7241B76-7122-AE56-0EFB-6DFFD069ADBB}"/>
                </a:ext>
              </a:extLst>
            </p:cNvPr>
            <p:cNvSpPr/>
            <p:nvPr userDrawn="1"/>
          </p:nvSpPr>
          <p:spPr>
            <a:xfrm>
              <a:off x="8504777" y="1"/>
              <a:ext cx="639222" cy="600837"/>
            </a:xfrm>
            <a:custGeom>
              <a:avLst/>
              <a:gdLst>
                <a:gd name="connsiteX0" fmla="*/ 568198 w 852296"/>
                <a:gd name="connsiteY0" fmla="*/ 600837 h 600837"/>
                <a:gd name="connsiteX1" fmla="*/ 852297 w 852296"/>
                <a:gd name="connsiteY1" fmla="*/ 0 h 600837"/>
                <a:gd name="connsiteX2" fmla="*/ 284099 w 852296"/>
                <a:gd name="connsiteY2" fmla="*/ 0 h 600837"/>
                <a:gd name="connsiteX3" fmla="*/ 0 w 852296"/>
                <a:gd name="connsiteY3" fmla="*/ 600837 h 600837"/>
                <a:gd name="connsiteX4" fmla="*/ 568198 w 852296"/>
                <a:gd name="connsiteY4" fmla="*/ 600837 h 600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296" h="600837">
                  <a:moveTo>
                    <a:pt x="568198" y="600837"/>
                  </a:moveTo>
                  <a:lnTo>
                    <a:pt x="852297" y="0"/>
                  </a:lnTo>
                  <a:lnTo>
                    <a:pt x="284099" y="0"/>
                  </a:lnTo>
                  <a:cubicBezTo>
                    <a:pt x="284099" y="0"/>
                    <a:pt x="0" y="600837"/>
                    <a:pt x="0" y="600837"/>
                  </a:cubicBezTo>
                  <a:lnTo>
                    <a:pt x="568198" y="600837"/>
                  </a:lnTo>
                  <a:close/>
                </a:path>
              </a:pathLst>
            </a:custGeom>
            <a:solidFill>
              <a:srgbClr val="CDDB00"/>
            </a:solidFill>
            <a:ln w="6350" cap="flat">
              <a:noFill/>
              <a:prstDash val="solid"/>
              <a:miter/>
            </a:ln>
          </p:spPr>
          <p:txBody>
            <a:bodyPr rtlCol="0" anchor="ctr"/>
            <a:lstStyle/>
            <a:p>
              <a:endParaRPr lang="en-AU" sz="1984"/>
            </a:p>
          </p:txBody>
        </p:sp>
        <p:sp>
          <p:nvSpPr>
            <p:cNvPr id="41" name="Free-form: Shape 40">
              <a:extLst>
                <a:ext uri="{FF2B5EF4-FFF2-40B4-BE49-F238E27FC236}">
                  <a16:creationId xmlns:a16="http://schemas.microsoft.com/office/drawing/2014/main" id="{1AB8811A-2AF9-3D1A-7290-BC7B6EA26CFE}"/>
                </a:ext>
              </a:extLst>
            </p:cNvPr>
            <p:cNvSpPr/>
            <p:nvPr userDrawn="1"/>
          </p:nvSpPr>
          <p:spPr>
            <a:xfrm>
              <a:off x="8291703" y="1"/>
              <a:ext cx="639222" cy="600837"/>
            </a:xfrm>
            <a:custGeom>
              <a:avLst/>
              <a:gdLst>
                <a:gd name="connsiteX0" fmla="*/ 852297 w 852296"/>
                <a:gd name="connsiteY0" fmla="*/ 600837 h 600837"/>
                <a:gd name="connsiteX1" fmla="*/ 568198 w 852296"/>
                <a:gd name="connsiteY1" fmla="*/ 0 h 600837"/>
                <a:gd name="connsiteX2" fmla="*/ 0 w 852296"/>
                <a:gd name="connsiteY2" fmla="*/ 0 h 600837"/>
                <a:gd name="connsiteX3" fmla="*/ 284099 w 852296"/>
                <a:gd name="connsiteY3" fmla="*/ 600837 h 600837"/>
                <a:gd name="connsiteX4" fmla="*/ 852297 w 852296"/>
                <a:gd name="connsiteY4" fmla="*/ 600837 h 600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296" h="600837">
                  <a:moveTo>
                    <a:pt x="852297" y="600837"/>
                  </a:moveTo>
                  <a:lnTo>
                    <a:pt x="568198" y="0"/>
                  </a:lnTo>
                  <a:lnTo>
                    <a:pt x="0" y="0"/>
                  </a:lnTo>
                  <a:cubicBezTo>
                    <a:pt x="0" y="0"/>
                    <a:pt x="284099" y="600837"/>
                    <a:pt x="284099" y="600837"/>
                  </a:cubicBezTo>
                  <a:lnTo>
                    <a:pt x="852297" y="600837"/>
                  </a:lnTo>
                  <a:close/>
                </a:path>
              </a:pathLst>
            </a:custGeom>
            <a:solidFill>
              <a:srgbClr val="FFFFFF">
                <a:alpha val="50000"/>
              </a:srgbClr>
            </a:solidFill>
            <a:ln w="6350" cap="flat">
              <a:noFill/>
              <a:prstDash val="solid"/>
              <a:miter/>
            </a:ln>
          </p:spPr>
          <p:txBody>
            <a:bodyPr rtlCol="0" anchor="ctr"/>
            <a:lstStyle/>
            <a:p>
              <a:endParaRPr lang="en-AU" sz="1984"/>
            </a:p>
          </p:txBody>
        </p:sp>
        <p:sp>
          <p:nvSpPr>
            <p:cNvPr id="42" name="Free-form: Shape 41">
              <a:extLst>
                <a:ext uri="{FF2B5EF4-FFF2-40B4-BE49-F238E27FC236}">
                  <a16:creationId xmlns:a16="http://schemas.microsoft.com/office/drawing/2014/main" id="{F88C237B-3642-81D4-58BC-F75C75257471}"/>
                </a:ext>
              </a:extLst>
            </p:cNvPr>
            <p:cNvSpPr/>
            <p:nvPr userDrawn="1"/>
          </p:nvSpPr>
          <p:spPr>
            <a:xfrm>
              <a:off x="8029908" y="600837"/>
              <a:ext cx="712232" cy="669162"/>
            </a:xfrm>
            <a:custGeom>
              <a:avLst/>
              <a:gdLst>
                <a:gd name="connsiteX0" fmla="*/ 0 w 949642"/>
                <a:gd name="connsiteY0" fmla="*/ 0 h 669162"/>
                <a:gd name="connsiteX1" fmla="*/ 316548 w 949642"/>
                <a:gd name="connsiteY1" fmla="*/ 669163 h 669162"/>
                <a:gd name="connsiteX2" fmla="*/ 949643 w 949642"/>
                <a:gd name="connsiteY2" fmla="*/ 669163 h 669162"/>
                <a:gd name="connsiteX3" fmla="*/ 633095 w 949642"/>
                <a:gd name="connsiteY3" fmla="*/ 0 h 669162"/>
                <a:gd name="connsiteX4" fmla="*/ 0 w 949642"/>
                <a:gd name="connsiteY4" fmla="*/ 0 h 669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42" h="669162">
                  <a:moveTo>
                    <a:pt x="0" y="0"/>
                  </a:moveTo>
                  <a:lnTo>
                    <a:pt x="316548" y="669163"/>
                  </a:lnTo>
                  <a:lnTo>
                    <a:pt x="949643" y="669163"/>
                  </a:lnTo>
                  <a:cubicBezTo>
                    <a:pt x="949643" y="669163"/>
                    <a:pt x="633095" y="0"/>
                    <a:pt x="633095" y="0"/>
                  </a:cubicBezTo>
                  <a:lnTo>
                    <a:pt x="0" y="0"/>
                  </a:lnTo>
                  <a:close/>
                </a:path>
              </a:pathLst>
            </a:custGeom>
            <a:solidFill>
              <a:srgbClr val="FFFFFF">
                <a:alpha val="50000"/>
              </a:srgbClr>
            </a:solidFill>
            <a:ln w="6350" cap="flat">
              <a:noFill/>
              <a:prstDash val="solid"/>
              <a:miter/>
            </a:ln>
          </p:spPr>
          <p:txBody>
            <a:bodyPr rtlCol="0" anchor="ctr"/>
            <a:lstStyle/>
            <a:p>
              <a:endParaRPr lang="en-AU" sz="1984"/>
            </a:p>
          </p:txBody>
        </p:sp>
      </p:grpSp>
      <p:sp>
        <p:nvSpPr>
          <p:cNvPr id="4" name="Date Placeholder 3"/>
          <p:cNvSpPr>
            <a:spLocks noGrp="1"/>
          </p:cNvSpPr>
          <p:nvPr>
            <p:ph type="dt" sz="half" idx="2"/>
          </p:nvPr>
        </p:nvSpPr>
        <p:spPr>
          <a:xfrm>
            <a:off x="6509982" y="7004053"/>
            <a:ext cx="2266302" cy="396833"/>
          </a:xfrm>
          <a:prstGeom prst="rect">
            <a:avLst/>
          </a:prstGeom>
        </p:spPr>
        <p:txBody>
          <a:bodyPr vert="horz" lIns="0" tIns="0" rIns="0" bIns="0" rtlCol="0" anchor="ctr"/>
          <a:lstStyle>
            <a:lvl1pPr algn="r">
              <a:defRPr sz="1102">
                <a:solidFill>
                  <a:schemeClr val="accent6"/>
                </a:solidFill>
              </a:defRPr>
            </a:lvl1pPr>
          </a:lstStyle>
          <a:p>
            <a:fld id="{973D4877-A18C-4E62-9946-F942ED83388C}" type="datetime1">
              <a:rPr lang="en-GB" smtClean="0"/>
              <a:pPr/>
              <a:t>31/07/2023</a:t>
            </a:fld>
            <a:endParaRPr lang="en-GB" dirty="0"/>
          </a:p>
        </p:txBody>
      </p:sp>
      <p:sp>
        <p:nvSpPr>
          <p:cNvPr id="2" name="Title Placeholder 1"/>
          <p:cNvSpPr>
            <a:spLocks noGrp="1"/>
          </p:cNvSpPr>
          <p:nvPr>
            <p:ph type="title"/>
          </p:nvPr>
        </p:nvSpPr>
        <p:spPr>
          <a:xfrm>
            <a:off x="568002" y="423804"/>
            <a:ext cx="7576875" cy="793667"/>
          </a:xfrm>
          <a:prstGeom prst="rect">
            <a:avLst/>
          </a:prstGeom>
        </p:spPr>
        <p:txBody>
          <a:bodyPr vert="horz" lIns="0" tIns="0" rIns="0" bIns="0" rtlCol="0" anchor="ctr">
            <a:noAutofit/>
          </a:bodyPr>
          <a:lstStyle/>
          <a:p>
            <a:r>
              <a:rPr lang="en-US" dirty="0"/>
              <a:t>Click to edit </a:t>
            </a:r>
            <a:br>
              <a:rPr lang="en-US" dirty="0"/>
            </a:br>
            <a:r>
              <a:rPr lang="en-US" dirty="0"/>
              <a:t>Master title style</a:t>
            </a:r>
            <a:endParaRPr lang="en-GB" dirty="0"/>
          </a:p>
        </p:txBody>
      </p:sp>
      <p:sp>
        <p:nvSpPr>
          <p:cNvPr id="3" name="Text Placeholder 2"/>
          <p:cNvSpPr>
            <a:spLocks noGrp="1"/>
          </p:cNvSpPr>
          <p:nvPr>
            <p:ph type="body" idx="1"/>
          </p:nvPr>
        </p:nvSpPr>
        <p:spPr>
          <a:xfrm>
            <a:off x="568000" y="2012413"/>
            <a:ext cx="9429000" cy="436516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568001" y="7004053"/>
            <a:ext cx="5240004" cy="396833"/>
          </a:xfrm>
          <a:prstGeom prst="rect">
            <a:avLst/>
          </a:prstGeom>
        </p:spPr>
        <p:txBody>
          <a:bodyPr vert="horz" lIns="0" tIns="0" rIns="0" bIns="0" rtlCol="0" anchor="ctr"/>
          <a:lstStyle>
            <a:lvl1pPr algn="l">
              <a:defRPr sz="1102">
                <a:solidFill>
                  <a:schemeClr val="accent6"/>
                </a:solidFill>
              </a:defRPr>
            </a:lvl1pPr>
          </a:lstStyle>
          <a:p>
            <a:r>
              <a:rPr lang="en-GB"/>
              <a:t>To add a Footer, select 'Insert &gt; Header &amp; Footer'</a:t>
            </a:r>
            <a:endParaRPr lang="en-GB" dirty="0"/>
          </a:p>
        </p:txBody>
      </p:sp>
      <p:sp>
        <p:nvSpPr>
          <p:cNvPr id="6" name="Slide Number Placeholder 5"/>
          <p:cNvSpPr>
            <a:spLocks noGrp="1"/>
          </p:cNvSpPr>
          <p:nvPr>
            <p:ph type="sldNum" sz="quarter" idx="4"/>
          </p:nvPr>
        </p:nvSpPr>
        <p:spPr>
          <a:xfrm>
            <a:off x="9750219" y="7004053"/>
            <a:ext cx="631406" cy="396833"/>
          </a:xfrm>
          <a:prstGeom prst="rect">
            <a:avLst/>
          </a:prstGeom>
        </p:spPr>
        <p:txBody>
          <a:bodyPr vert="horz" lIns="0" tIns="0" rIns="0" bIns="0" rtlCol="0" anchor="ctr"/>
          <a:lstStyle>
            <a:lvl1pPr algn="l">
              <a:defRPr sz="1102">
                <a:solidFill>
                  <a:schemeClr val="accent6"/>
                </a:solidFill>
              </a:defRPr>
            </a:lvl1pPr>
          </a:lstStyle>
          <a:p>
            <a:r>
              <a:rPr lang="en-GB"/>
              <a:t>Page </a:t>
            </a:r>
            <a:fld id="{F5AEA0E0-5CC6-4BD0-905C-A0021E419432}" type="slidenum">
              <a:rPr lang="en-GB" smtClean="0"/>
              <a:pPr/>
              <a:t>‹#›</a:t>
            </a:fld>
            <a:endParaRPr lang="en-GB" dirty="0"/>
          </a:p>
        </p:txBody>
      </p:sp>
      <p:sp>
        <p:nvSpPr>
          <p:cNvPr id="7" name="MSIPCMContentMarking" descr="{&quot;HashCode&quot;:-1264680268,&quot;Placement&quot;:&quot;Footer&quot;,&quot;Top&quot;:516.65155,&quot;Left&quot;:326.046448,&quot;SlideWidth&quot;:720,&quot;SlideHeight&quot;:540}">
            <a:extLst>
              <a:ext uri="{FF2B5EF4-FFF2-40B4-BE49-F238E27FC236}">
                <a16:creationId xmlns:a16="http://schemas.microsoft.com/office/drawing/2014/main" id="{C1CB3AF3-4B80-E700-28DB-DCCFCACEA543}"/>
              </a:ext>
            </a:extLst>
          </p:cNvPr>
          <p:cNvSpPr txBox="1"/>
          <p:nvPr userDrawn="1"/>
        </p:nvSpPr>
        <p:spPr>
          <a:xfrm>
            <a:off x="4483518" y="7294451"/>
            <a:ext cx="1724778" cy="203582"/>
          </a:xfrm>
          <a:prstGeom prst="rect">
            <a:avLst/>
          </a:prstGeom>
          <a:noFill/>
        </p:spPr>
        <p:txBody>
          <a:bodyPr vert="horz" wrap="square" lIns="0" tIns="0" rIns="0" bIns="0" rtlCol="0" anchor="ctr" anchorCtr="1">
            <a:spAutoFit/>
          </a:bodyPr>
          <a:lstStyle/>
          <a:p>
            <a:pPr algn="ctr">
              <a:spcBef>
                <a:spcPts val="0"/>
              </a:spcBef>
              <a:spcAft>
                <a:spcPts val="0"/>
              </a:spcAft>
            </a:pPr>
            <a:r>
              <a:rPr lang="en-AU" sz="1323" dirty="0">
                <a:solidFill>
                  <a:srgbClr val="000000"/>
                </a:solidFill>
                <a:latin typeface="Calibri" panose="020F0502020204030204" pitchFamily="34" charset="0"/>
              </a:rPr>
              <a:t>OFFICIAL - Sensitive</a:t>
            </a:r>
          </a:p>
        </p:txBody>
      </p:sp>
    </p:spTree>
    <p:extLst>
      <p:ext uri="{BB962C8B-B14F-4D97-AF65-F5344CB8AC3E}">
        <p14:creationId xmlns:p14="http://schemas.microsoft.com/office/powerpoint/2010/main" val="2559479050"/>
      </p:ext>
    </p:extLst>
  </p:cSld>
  <p:clrMap bg1="lt1" tx1="dk1" bg2="lt2" tx2="dk2" accent1="accent1" accent2="accent2" accent3="accent3" accent4="accent4" accent5="accent5" accent6="accent6" hlink="hlink" folHlink="folHlink"/>
  <p:sldLayoutIdLst>
    <p:sldLayoutId id="2147483670" r:id="rId1"/>
    <p:sldLayoutId id="2147483677" r:id="rId2"/>
    <p:sldLayoutId id="2147483678" r:id="rId3"/>
    <p:sldLayoutId id="2147483692" r:id="rId4"/>
    <p:sldLayoutId id="2147483650" r:id="rId5"/>
    <p:sldLayoutId id="2147483652" r:id="rId6"/>
    <p:sldLayoutId id="2147483691" r:id="rId7"/>
    <p:sldLayoutId id="2147483664" r:id="rId8"/>
    <p:sldLayoutId id="2147483681" r:id="rId9"/>
    <p:sldLayoutId id="2147483662" r:id="rId10"/>
    <p:sldLayoutId id="2147483680" r:id="rId11"/>
    <p:sldLayoutId id="2147483689" r:id="rId12"/>
    <p:sldLayoutId id="2147483693" r:id="rId13"/>
    <p:sldLayoutId id="2147483690" r:id="rId14"/>
    <p:sldLayoutId id="2147483675" r:id="rId15"/>
    <p:sldLayoutId id="2147483655" r:id="rId16"/>
    <p:sldLayoutId id="2147483694" r:id="rId17"/>
    <p:sldLayoutId id="2147483695" r:id="rId18"/>
    <p:sldLayoutId id="2147483696" r:id="rId19"/>
    <p:sldLayoutId id="2147483697" r:id="rId20"/>
  </p:sldLayoutIdLst>
  <p:hf hdr="0" dt="0"/>
  <p:txStyles>
    <p:titleStyle>
      <a:lvl1pPr algn="l" defTabSz="1007943" rtl="0" eaLnBrk="1" latinLnBrk="0" hangingPunct="1">
        <a:lnSpc>
          <a:spcPct val="100000"/>
        </a:lnSpc>
        <a:spcBef>
          <a:spcPct val="0"/>
        </a:spcBef>
        <a:buNone/>
        <a:defRPr sz="2535" kern="1200">
          <a:solidFill>
            <a:schemeClr val="accent6"/>
          </a:solidFill>
          <a:latin typeface="+mj-lt"/>
          <a:ea typeface="+mj-ea"/>
          <a:cs typeface="+mj-cs"/>
        </a:defRPr>
      </a:lvl1pPr>
    </p:titleStyle>
    <p:bodyStyle>
      <a:lvl1pPr marL="0" indent="0" algn="l" defTabSz="1007943" rtl="0" eaLnBrk="1" latinLnBrk="0" hangingPunct="1">
        <a:lnSpc>
          <a:spcPct val="100000"/>
        </a:lnSpc>
        <a:spcBef>
          <a:spcPts val="661"/>
        </a:spcBef>
        <a:buFont typeface="Arial" panose="020B0604020202020204" pitchFamily="34" charset="0"/>
        <a:buNone/>
        <a:defRPr sz="1984" b="1" kern="1200">
          <a:solidFill>
            <a:schemeClr val="accent6"/>
          </a:solidFill>
          <a:latin typeface="+mn-lt"/>
          <a:ea typeface="+mn-ea"/>
          <a:cs typeface="+mn-cs"/>
        </a:defRPr>
      </a:lvl1pPr>
      <a:lvl2pPr marL="0" indent="0" algn="l" defTabSz="1007943" rtl="0" eaLnBrk="1" latinLnBrk="0" hangingPunct="1">
        <a:lnSpc>
          <a:spcPct val="100000"/>
        </a:lnSpc>
        <a:spcBef>
          <a:spcPts val="661"/>
        </a:spcBef>
        <a:buFont typeface="Arial" panose="020B0604020202020204" pitchFamily="34" charset="0"/>
        <a:buNone/>
        <a:defRPr sz="1984" kern="1200">
          <a:solidFill>
            <a:schemeClr val="accent6"/>
          </a:solidFill>
          <a:latin typeface="+mn-lt"/>
          <a:ea typeface="+mn-ea"/>
          <a:cs typeface="+mn-cs"/>
        </a:defRPr>
      </a:lvl2pPr>
      <a:lvl3pPr marL="198414" indent="-198414" algn="l" defTabSz="1007943" rtl="0" eaLnBrk="1" latinLnBrk="0" hangingPunct="1">
        <a:lnSpc>
          <a:spcPct val="100000"/>
        </a:lnSpc>
        <a:spcBef>
          <a:spcPts val="661"/>
        </a:spcBef>
        <a:buClr>
          <a:schemeClr val="accent3"/>
        </a:buClr>
        <a:buFont typeface="Arial" panose="020B0604020202020204" pitchFamily="34" charset="0"/>
        <a:buChar char="•"/>
        <a:defRPr sz="1984" kern="1200">
          <a:solidFill>
            <a:schemeClr val="accent6"/>
          </a:solidFill>
          <a:latin typeface="+mn-lt"/>
          <a:ea typeface="+mn-ea"/>
          <a:cs typeface="+mn-cs"/>
        </a:defRPr>
      </a:lvl3pPr>
      <a:lvl4pPr marL="396828" indent="-198414" algn="l" defTabSz="1007943" rtl="0" eaLnBrk="1" latinLnBrk="0" hangingPunct="1">
        <a:lnSpc>
          <a:spcPct val="100000"/>
        </a:lnSpc>
        <a:spcBef>
          <a:spcPts val="1323"/>
        </a:spcBef>
        <a:spcAft>
          <a:spcPts val="1323"/>
        </a:spcAft>
        <a:buClr>
          <a:schemeClr val="accent2"/>
        </a:buClr>
        <a:buFont typeface="Arial" panose="020B0604020202020204" pitchFamily="34" charset="0"/>
        <a:buChar char="•"/>
        <a:defRPr sz="1984" b="0" i="0" kern="1200">
          <a:solidFill>
            <a:schemeClr val="accent6"/>
          </a:solidFill>
          <a:latin typeface="+mn-lt"/>
          <a:ea typeface="+mn-ea"/>
          <a:cs typeface="+mn-cs"/>
        </a:defRPr>
      </a:lvl4pPr>
      <a:lvl5pPr marL="0" indent="0" algn="l" defTabSz="1007943" rtl="0" eaLnBrk="1" latinLnBrk="0" hangingPunct="1">
        <a:lnSpc>
          <a:spcPct val="100000"/>
        </a:lnSpc>
        <a:spcBef>
          <a:spcPts val="661"/>
        </a:spcBef>
        <a:buFont typeface="Arial" panose="020B0604020202020204" pitchFamily="34" charset="0"/>
        <a:buNone/>
        <a:defRPr sz="1543" b="1" kern="1200">
          <a:solidFill>
            <a:schemeClr val="accent6"/>
          </a:solidFill>
          <a:latin typeface="+mn-lt"/>
          <a:ea typeface="+mn-ea"/>
          <a:cs typeface="+mn-cs"/>
        </a:defRPr>
      </a:lvl5pPr>
      <a:lvl6pPr marL="0" indent="0" algn="l" defTabSz="1007943" rtl="0" eaLnBrk="1" latinLnBrk="0" hangingPunct="1">
        <a:lnSpc>
          <a:spcPct val="100000"/>
        </a:lnSpc>
        <a:spcBef>
          <a:spcPts val="661"/>
        </a:spcBef>
        <a:buFont typeface="Arial" panose="020B0604020202020204" pitchFamily="34" charset="0"/>
        <a:buNone/>
        <a:defRPr sz="1543" kern="1200">
          <a:solidFill>
            <a:schemeClr val="tx1"/>
          </a:solidFill>
          <a:latin typeface="+mn-lt"/>
          <a:ea typeface="+mn-ea"/>
          <a:cs typeface="+mn-cs"/>
        </a:defRPr>
      </a:lvl6pPr>
      <a:lvl7pPr marL="0" indent="0" algn="l" defTabSz="1007943" rtl="0" eaLnBrk="1" latinLnBrk="0" hangingPunct="1">
        <a:lnSpc>
          <a:spcPct val="100000"/>
        </a:lnSpc>
        <a:spcBef>
          <a:spcPts val="661"/>
        </a:spcBef>
        <a:buFont typeface="Arial" panose="020B0604020202020204" pitchFamily="34" charset="0"/>
        <a:buNone/>
        <a:defRPr sz="1984" kern="1200">
          <a:solidFill>
            <a:schemeClr val="tx1"/>
          </a:solidFill>
          <a:latin typeface="+mn-lt"/>
          <a:ea typeface="+mn-ea"/>
          <a:cs typeface="+mn-cs"/>
        </a:defRPr>
      </a:lvl7pPr>
      <a:lvl8pPr marL="0" indent="0" algn="l" defTabSz="1007943" rtl="0" eaLnBrk="1" latinLnBrk="0" hangingPunct="1">
        <a:lnSpc>
          <a:spcPct val="100000"/>
        </a:lnSpc>
        <a:spcBef>
          <a:spcPts val="661"/>
        </a:spcBef>
        <a:buFont typeface="Arial" panose="020B0604020202020204" pitchFamily="34" charset="0"/>
        <a:buNone/>
        <a:defRPr sz="1984" kern="1200">
          <a:solidFill>
            <a:schemeClr val="tx1"/>
          </a:solidFill>
          <a:latin typeface="+mn-lt"/>
          <a:ea typeface="+mn-ea"/>
          <a:cs typeface="+mn-cs"/>
        </a:defRPr>
      </a:lvl8pPr>
      <a:lvl9pPr marL="0" indent="0" algn="l" defTabSz="1007943" rtl="0" eaLnBrk="1" latinLnBrk="0" hangingPunct="1">
        <a:lnSpc>
          <a:spcPct val="100000"/>
        </a:lnSpc>
        <a:spcBef>
          <a:spcPts val="661"/>
        </a:spcBef>
        <a:buFont typeface="Arial" panose="020B0604020202020204" pitchFamily="34" charset="0"/>
        <a:buNone/>
        <a:defRPr sz="1984" kern="1200">
          <a:solidFill>
            <a:schemeClr val="tx1"/>
          </a:solidFill>
          <a:latin typeface="+mn-lt"/>
          <a:ea typeface="+mn-ea"/>
          <a:cs typeface="+mn-cs"/>
        </a:defRPr>
      </a:lvl9pPr>
    </p:bodyStyle>
    <p:otherStyle>
      <a:defPPr>
        <a:defRPr lang="en-US"/>
      </a:defPPr>
      <a:lvl1pPr marL="0" algn="l" defTabSz="1007943" rtl="0" eaLnBrk="1" latinLnBrk="0" hangingPunct="1">
        <a:defRPr sz="1984" kern="1200">
          <a:solidFill>
            <a:schemeClr val="tx1"/>
          </a:solidFill>
          <a:latin typeface="+mn-lt"/>
          <a:ea typeface="+mn-ea"/>
          <a:cs typeface="+mn-cs"/>
        </a:defRPr>
      </a:lvl1pPr>
      <a:lvl2pPr marL="503972" algn="l" defTabSz="1007943" rtl="0" eaLnBrk="1" latinLnBrk="0" hangingPunct="1">
        <a:defRPr sz="1984" kern="1200">
          <a:solidFill>
            <a:schemeClr val="tx1"/>
          </a:solidFill>
          <a:latin typeface="+mn-lt"/>
          <a:ea typeface="+mn-ea"/>
          <a:cs typeface="+mn-cs"/>
        </a:defRPr>
      </a:lvl2pPr>
      <a:lvl3pPr marL="1007943" algn="l" defTabSz="1007943" rtl="0" eaLnBrk="1" latinLnBrk="0" hangingPunct="1">
        <a:defRPr sz="1984" kern="1200">
          <a:solidFill>
            <a:schemeClr val="tx1"/>
          </a:solidFill>
          <a:latin typeface="+mn-lt"/>
          <a:ea typeface="+mn-ea"/>
          <a:cs typeface="+mn-cs"/>
        </a:defRPr>
      </a:lvl3pPr>
      <a:lvl4pPr marL="1511915" algn="l" defTabSz="1007943" rtl="0" eaLnBrk="1" latinLnBrk="0" hangingPunct="1">
        <a:defRPr sz="1984" kern="1200">
          <a:solidFill>
            <a:schemeClr val="tx1"/>
          </a:solidFill>
          <a:latin typeface="+mn-lt"/>
          <a:ea typeface="+mn-ea"/>
          <a:cs typeface="+mn-cs"/>
        </a:defRPr>
      </a:lvl4pPr>
      <a:lvl5pPr marL="2015886" algn="l" defTabSz="1007943" rtl="0" eaLnBrk="1" latinLnBrk="0" hangingPunct="1">
        <a:defRPr sz="1984" kern="1200">
          <a:solidFill>
            <a:schemeClr val="tx1"/>
          </a:solidFill>
          <a:latin typeface="+mn-lt"/>
          <a:ea typeface="+mn-ea"/>
          <a:cs typeface="+mn-cs"/>
        </a:defRPr>
      </a:lvl5pPr>
      <a:lvl6pPr marL="2519858" algn="l" defTabSz="1007943" rtl="0" eaLnBrk="1" latinLnBrk="0" hangingPunct="1">
        <a:defRPr sz="1984" kern="1200">
          <a:solidFill>
            <a:schemeClr val="tx1"/>
          </a:solidFill>
          <a:latin typeface="+mn-lt"/>
          <a:ea typeface="+mn-ea"/>
          <a:cs typeface="+mn-cs"/>
        </a:defRPr>
      </a:lvl6pPr>
      <a:lvl7pPr marL="3023829" algn="l" defTabSz="1007943" rtl="0" eaLnBrk="1" latinLnBrk="0" hangingPunct="1">
        <a:defRPr sz="1984" kern="1200">
          <a:solidFill>
            <a:schemeClr val="tx1"/>
          </a:solidFill>
          <a:latin typeface="+mn-lt"/>
          <a:ea typeface="+mn-ea"/>
          <a:cs typeface="+mn-cs"/>
        </a:defRPr>
      </a:lvl7pPr>
      <a:lvl8pPr marL="3527801" algn="l" defTabSz="1007943" rtl="0" eaLnBrk="1" latinLnBrk="0" hangingPunct="1">
        <a:defRPr sz="1984" kern="1200">
          <a:solidFill>
            <a:schemeClr val="tx1"/>
          </a:solidFill>
          <a:latin typeface="+mn-lt"/>
          <a:ea typeface="+mn-ea"/>
          <a:cs typeface="+mn-cs"/>
        </a:defRPr>
      </a:lvl8pPr>
      <a:lvl9pPr marL="4031772" algn="l" defTabSz="1007943" rtl="0" eaLnBrk="1" latinLnBrk="0" hangingPunct="1">
        <a:defRPr sz="198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7.xml"/><Relationship Id="rId1" Type="http://schemas.openxmlformats.org/officeDocument/2006/relationships/tags" Target="../tags/tag9.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8.bin"/></Relationships>
</file>

<file path=ppt/slides/_rels/slide2.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2.xml"/><Relationship Id="rId1" Type="http://schemas.openxmlformats.org/officeDocument/2006/relationships/slideLayout" Target="../slideLayouts/slideLayout19.xml"/><Relationship Id="rId4" Type="http://schemas.openxmlformats.org/officeDocument/2006/relationships/slide" Target="slide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5604A4C-4281-361D-7CB5-94F4E1B60FB6}"/>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195624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15604A4C-4281-361D-7CB5-94F4E1B60FB6}"/>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8" name="Rectangle 87">
            <a:extLst>
              <a:ext uri="{FF2B5EF4-FFF2-40B4-BE49-F238E27FC236}">
                <a16:creationId xmlns:a16="http://schemas.microsoft.com/office/drawing/2014/main" id="{E5DDC5C0-0808-8BB3-3C58-EF140510A17B}"/>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1" y="2979750"/>
            <a:ext cx="10691813" cy="45799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5" name="Title 4">
            <a:extLst>
              <a:ext uri="{FF2B5EF4-FFF2-40B4-BE49-F238E27FC236}">
                <a16:creationId xmlns:a16="http://schemas.microsoft.com/office/drawing/2014/main" id="{DB36C4EB-BB7C-9B71-F2CC-AB0540683145}"/>
              </a:ext>
              <a:ext uri="{C183D7F6-B498-43B3-948B-1728B52AA6E4}">
                <adec:decorative xmlns:adec="http://schemas.microsoft.com/office/drawing/2017/decorative" val="0"/>
              </a:ext>
            </a:extLst>
          </p:cNvPr>
          <p:cNvSpPr txBox="1">
            <a:spLocks noGrp="1" noRot="1" noMove="1" noResize="1" noEditPoints="1" noAdjustHandles="1" noChangeArrowheads="1" noChangeShapeType="1"/>
          </p:cNvSpPr>
          <p:nvPr>
            <p:ph type="title" idx="4294967295"/>
          </p:nvPr>
        </p:nvSpPr>
        <p:spPr>
          <a:xfrm>
            <a:off x="0" y="-1"/>
            <a:ext cx="10691813" cy="2973005"/>
          </a:xfrm>
          <a:prstGeom prst="rect">
            <a:avLst/>
          </a:prstGeom>
          <a:solidFill>
            <a:schemeClr val="bg1"/>
          </a:solidFill>
          <a:ln>
            <a:noFill/>
            <a:prstDash/>
          </a:ln>
          <a:effectLst/>
        </p:spPr>
        <p:txBody>
          <a:bodyPr rot="0" spcFirstLastPara="0" vertOverflow="overflow" horzOverflow="overflow" vert="horz" wrap="square" lIns="540000" tIns="45720" rIns="0" bIns="288000" numCol="1" spcCol="0" rtlCol="0" fromWordArt="0" anchor="b" anchorCtr="0" forceAA="0" compatLnSpc="1">
            <a:prstTxWarp prst="textNoShape">
              <a:avLst/>
            </a:prstTxWarp>
            <a:noAutofit/>
          </a:bodyPr>
          <a:lstStyle/>
          <a:p>
            <a:pPr marL="0" marR="0" lvl="0" indent="0" algn="l" defTabSz="1042873"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dirty="0">
                <a:ln>
                  <a:noFill/>
                </a:ln>
                <a:solidFill>
                  <a:schemeClr val="accent6"/>
                </a:solidFill>
                <a:effectLst/>
                <a:uLnTx/>
                <a:uFillTx/>
                <a:latin typeface="+mj-lt"/>
                <a:ea typeface="+mn-ea"/>
                <a:cs typeface="+mn-cs"/>
              </a:rPr>
              <a:t>Planning Applications:</a:t>
            </a:r>
            <a:br>
              <a:rPr kumimoji="0" lang="en-AU" sz="3200" b="0" i="0" u="none" strike="noStrike" kern="1200" cap="none" spc="0" normalizeH="0" baseline="0" noProof="0" dirty="0">
                <a:ln>
                  <a:noFill/>
                </a:ln>
                <a:solidFill>
                  <a:schemeClr val="accent6"/>
                </a:solidFill>
                <a:effectLst/>
                <a:uLnTx/>
                <a:uFillTx/>
                <a:latin typeface="+mj-lt"/>
                <a:ea typeface="+mn-ea"/>
                <a:cs typeface="+mn-cs"/>
              </a:rPr>
            </a:br>
            <a:r>
              <a:rPr kumimoji="0" lang="en-AU" sz="2500" b="0" i="0" u="none" strike="noStrike" kern="1200" cap="none" spc="0" normalizeH="0" baseline="0" noProof="0" dirty="0">
                <a:ln>
                  <a:noFill/>
                </a:ln>
                <a:solidFill>
                  <a:schemeClr val="accent6"/>
                </a:solidFill>
                <a:effectLst/>
                <a:uLnTx/>
                <a:uFillTx/>
                <a:latin typeface="+mj-lt"/>
                <a:ea typeface="+mn-ea"/>
                <a:cs typeface="+mn-cs"/>
              </a:rPr>
              <a:t>Charter for Internal Referrals</a:t>
            </a:r>
          </a:p>
        </p:txBody>
      </p:sp>
      <p:sp>
        <p:nvSpPr>
          <p:cNvPr id="89" name="TextBox 88">
            <a:extLst>
              <a:ext uri="{FF2B5EF4-FFF2-40B4-BE49-F238E27FC236}">
                <a16:creationId xmlns:a16="http://schemas.microsoft.com/office/drawing/2014/main" id="{9A54E082-7111-8ACD-07DA-011BBC0055CD}"/>
              </a:ext>
            </a:extLst>
          </p:cNvPr>
          <p:cNvSpPr txBox="1"/>
          <p:nvPr/>
        </p:nvSpPr>
        <p:spPr>
          <a:xfrm>
            <a:off x="539711" y="428017"/>
            <a:ext cx="2003898" cy="701474"/>
          </a:xfrm>
          <a:prstGeom prst="rect">
            <a:avLst/>
          </a:prstGeom>
          <a:noFill/>
        </p:spPr>
        <p:txBody>
          <a:bodyPr wrap="square" lIns="0" tIns="45720" rIns="91440" bIns="45720" rtlCol="0" anchor="t">
            <a:spAutoFit/>
          </a:bodyPr>
          <a:lstStyle/>
          <a:p>
            <a:r>
              <a:rPr lang="en-AU" sz="1950" dirty="0">
                <a:solidFill>
                  <a:srgbClr val="FF0000"/>
                </a:solidFill>
              </a:rPr>
              <a:t>COUNCIL LOGO HERE</a:t>
            </a:r>
          </a:p>
        </p:txBody>
      </p:sp>
      <p:pic>
        <p:nvPicPr>
          <p:cNvPr id="2" name="Picture 87" descr="Logo of Victoria State Government &#10;Department of Transport and Planning">
            <a:extLst>
              <a:ext uri="{FF2B5EF4-FFF2-40B4-BE49-F238E27FC236}">
                <a16:creationId xmlns:a16="http://schemas.microsoft.com/office/drawing/2014/main" id="{CF394CB8-5156-DECA-BA9B-5D1314BECE73}"/>
              </a:ext>
            </a:extLst>
          </p:cNvPr>
          <p:cNvPicPr>
            <a:picLocks noChangeAspect="1"/>
          </p:cNvPicPr>
          <p:nvPr/>
        </p:nvPicPr>
        <p:blipFill>
          <a:blip r:embed="rId6"/>
          <a:stretch>
            <a:fillRect/>
          </a:stretch>
        </p:blipFill>
        <p:spPr>
          <a:xfrm>
            <a:off x="8445142" y="86957"/>
            <a:ext cx="2132752" cy="771360"/>
          </a:xfrm>
          <a:prstGeom prst="rect">
            <a:avLst/>
          </a:prstGeom>
        </p:spPr>
      </p:pic>
      <p:sp>
        <p:nvSpPr>
          <p:cNvPr id="7" name="Text Placeholder 11">
            <a:extLst>
              <a:ext uri="{FF2B5EF4-FFF2-40B4-BE49-F238E27FC236}">
                <a16:creationId xmlns:a16="http://schemas.microsoft.com/office/drawing/2014/main" id="{ABDFE73F-54F1-3543-D4D2-756C672468A6}"/>
              </a:ext>
            </a:extLst>
          </p:cNvPr>
          <p:cNvSpPr txBox="1">
            <a:spLocks/>
          </p:cNvSpPr>
          <p:nvPr/>
        </p:nvSpPr>
        <p:spPr>
          <a:xfrm>
            <a:off x="540000" y="3305773"/>
            <a:ext cx="5760000" cy="3289162"/>
          </a:xfrm>
          <a:prstGeom prst="rect">
            <a:avLst/>
          </a:prstGeom>
        </p:spPr>
        <p:txBody>
          <a:bodyPr vert="horz" wrap="square" lIns="0" tIns="70386" rIns="0" bIns="70386" rtlCol="0">
            <a:spAutoFit/>
          </a:bodyPr>
          <a:lstStyle>
            <a:lvl1pPr marL="0" indent="0" algn="l" defTabSz="995230" rtl="0" eaLnBrk="1" latinLnBrk="0" hangingPunct="1">
              <a:spcBef>
                <a:spcPts val="1306"/>
              </a:spcBef>
              <a:buFont typeface="Arial" pitchFamily="34" charset="0"/>
              <a:buNone/>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95922" indent="-195922" algn="l" defTabSz="995230" rtl="0" eaLnBrk="1" latinLnBrk="0" hangingPunct="1">
              <a:spcBef>
                <a:spcPts val="436"/>
              </a:spcBef>
              <a:buClr>
                <a:schemeClr val="bg2"/>
              </a:buClr>
              <a:buFont typeface="Arial" pitchFamily="34" charset="0"/>
              <a:buChar char="•"/>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548582" indent="-195922" algn="l" defTabSz="995230" rtl="0" eaLnBrk="1" latinLnBrk="0" hangingPunct="1">
              <a:spcBef>
                <a:spcPts val="436"/>
              </a:spcBef>
              <a:buClr>
                <a:schemeClr val="bg2"/>
              </a:buClr>
              <a:buFont typeface="Arial" pitchFamily="34" charset="0"/>
              <a:buChar char="•"/>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901242" indent="-195922" algn="l" defTabSz="995230" rtl="0" eaLnBrk="1" latinLnBrk="0" hangingPunct="1">
              <a:spcBef>
                <a:spcPts val="436"/>
              </a:spcBef>
              <a:buClr>
                <a:schemeClr val="bg2"/>
              </a:buClr>
              <a:buFont typeface="Arial" pitchFamily="34" charset="0"/>
              <a:buChar char="•"/>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214718" indent="-195922" algn="l" defTabSz="995230" rtl="0" eaLnBrk="1" latinLnBrk="0" hangingPunct="1">
              <a:spcBef>
                <a:spcPts val="436"/>
              </a:spcBef>
              <a:buClr>
                <a:schemeClr val="bg2"/>
              </a:buClr>
              <a:buFont typeface="Arial" pitchFamily="34" charset="0"/>
              <a:buChar char="•"/>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587734" indent="-293868" algn="l" defTabSz="995230" rtl="0" eaLnBrk="1" latinLnBrk="0" hangingPunct="1">
              <a:spcBef>
                <a:spcPts val="436"/>
              </a:spcBef>
              <a:buClr>
                <a:schemeClr val="bg2"/>
              </a:buClr>
              <a:buFont typeface="+mj-lt"/>
              <a:buAutoNum type="arabicPeriod"/>
              <a:defRPr sz="1626"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81600" indent="-293868" algn="l" defTabSz="995230" rtl="0" eaLnBrk="1" latinLnBrk="0" hangingPunct="1">
              <a:spcBef>
                <a:spcPts val="436"/>
              </a:spcBef>
              <a:buClr>
                <a:schemeClr val="bg2"/>
              </a:buClr>
              <a:buFont typeface="+mj-lt"/>
              <a:buAutoNum type="alphaLcPeriod"/>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175467" indent="-293868" algn="l" defTabSz="995230" rtl="0" eaLnBrk="1" latinLnBrk="0" hangingPunct="1">
              <a:spcBef>
                <a:spcPts val="436"/>
              </a:spcBef>
              <a:buClr>
                <a:schemeClr val="bg2"/>
              </a:buClr>
              <a:buFont typeface="+mj-lt"/>
              <a:buAutoNum type="romanLcPeriod"/>
              <a:defRPr sz="1626"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229720" indent="-248807" algn="l" defTabSz="995230" rtl="0" eaLnBrk="1" latinLnBrk="0" hangingPunct="1">
              <a:spcBef>
                <a:spcPct val="20000"/>
              </a:spcBef>
              <a:buFont typeface="Arial" pitchFamily="34" charset="0"/>
              <a:buChar char="•"/>
              <a:defRPr sz="2191" kern="1200">
                <a:solidFill>
                  <a:schemeClr val="tx1"/>
                </a:solidFill>
                <a:latin typeface="+mn-lt"/>
                <a:ea typeface="+mn-ea"/>
                <a:cs typeface="+mn-cs"/>
              </a:defRPr>
            </a:lvl9pPr>
          </a:lstStyle>
          <a:p>
            <a:pPr>
              <a:spcBef>
                <a:spcPts val="0"/>
              </a:spcBef>
              <a:spcAft>
                <a:spcPts val="900"/>
              </a:spcAft>
            </a:pPr>
            <a:r>
              <a:rPr lang="en-AU" sz="1200" b="1" dirty="0">
                <a:solidFill>
                  <a:schemeClr val="accent6"/>
                </a:solidFill>
                <a:latin typeface="+mn-lt"/>
              </a:rPr>
              <a:t>Internal referrals for planning applications</a:t>
            </a:r>
          </a:p>
          <a:p>
            <a:pPr>
              <a:spcBef>
                <a:spcPts val="600"/>
              </a:spcBef>
              <a:spcAft>
                <a:spcPts val="900"/>
              </a:spcAft>
            </a:pPr>
            <a:r>
              <a:rPr lang="en-AU" sz="1200" b="1" dirty="0">
                <a:solidFill>
                  <a:schemeClr val="accent6"/>
                </a:solidFill>
                <a:latin typeface="+mn-lt"/>
                <a:cs typeface="Segoe UI Semibold" panose="020B0702040204020203" pitchFamily="34" charset="0"/>
              </a:rPr>
              <a:t>What is our purpose?</a:t>
            </a:r>
          </a:p>
          <a:p>
            <a:pPr>
              <a:spcBef>
                <a:spcPts val="0"/>
              </a:spcBef>
              <a:spcAft>
                <a:spcPts val="900"/>
              </a:spcAft>
            </a:pPr>
            <a:r>
              <a:rPr lang="en-AU" sz="1100" dirty="0">
                <a:solidFill>
                  <a:schemeClr val="accent6"/>
                </a:solidFill>
                <a:highlight>
                  <a:srgbClr val="FFFF00"/>
                </a:highlight>
                <a:latin typeface="+mn-lt"/>
                <a:cs typeface="Segoe UI"/>
              </a:rPr>
              <a:t>[Council Name] </a:t>
            </a:r>
            <a:r>
              <a:rPr lang="en-AU" sz="1100" dirty="0">
                <a:solidFill>
                  <a:schemeClr val="accent6"/>
                </a:solidFill>
                <a:latin typeface="+mn-lt"/>
                <a:cs typeface="Segoe UI"/>
              </a:rPr>
              <a:t>statutory planners partner with expert teams to collaboratively respond to and guide planning applications. We do this in order to give clarity to applicants within statutory response timeframes, and ensure the fair, orderly, economic and sustainable use and development of land.</a:t>
            </a:r>
          </a:p>
          <a:p>
            <a:pPr>
              <a:spcBef>
                <a:spcPts val="600"/>
              </a:spcBef>
              <a:spcAft>
                <a:spcPts val="900"/>
              </a:spcAft>
            </a:pPr>
            <a:r>
              <a:rPr lang="en-AU" sz="1200" b="1" dirty="0">
                <a:solidFill>
                  <a:schemeClr val="accent6"/>
                </a:solidFill>
                <a:latin typeface="+mn-lt"/>
                <a:cs typeface="Segoe UI Semibold" panose="020B0702040204020203" pitchFamily="34" charset="0"/>
              </a:rPr>
              <a:t>Why do we have charter?</a:t>
            </a:r>
          </a:p>
          <a:p>
            <a:pPr>
              <a:spcBef>
                <a:spcPts val="0"/>
              </a:spcBef>
              <a:spcAft>
                <a:spcPts val="900"/>
              </a:spcAft>
            </a:pPr>
            <a:r>
              <a:rPr lang="en-AU" sz="1100" dirty="0">
                <a:solidFill>
                  <a:schemeClr val="accent6"/>
                </a:solidFill>
                <a:latin typeface="+mn-lt"/>
                <a:cs typeface="Segoe UI"/>
              </a:rPr>
              <a:t>This charter outlines the principles and ways in which </a:t>
            </a:r>
            <a:r>
              <a:rPr lang="en-AU" sz="1100" dirty="0">
                <a:solidFill>
                  <a:schemeClr val="accent6"/>
                </a:solidFill>
                <a:highlight>
                  <a:srgbClr val="FFFF00"/>
                </a:highlight>
                <a:latin typeface="+mn-lt"/>
                <a:cs typeface="Segoe UI"/>
              </a:rPr>
              <a:t>[Council Name] </a:t>
            </a:r>
            <a:r>
              <a:rPr lang="en-AU" sz="1100" dirty="0">
                <a:solidFill>
                  <a:schemeClr val="accent6"/>
                </a:solidFill>
                <a:latin typeface="+mn-lt"/>
                <a:cs typeface="Segoe UI"/>
              </a:rPr>
              <a:t>undertakes internal referrals as well as how the planning team and internal departments work in partnership to apply their diverse expertise at various stages of the application process.</a:t>
            </a:r>
          </a:p>
          <a:p>
            <a:pPr>
              <a:spcBef>
                <a:spcPts val="0"/>
              </a:spcBef>
              <a:spcAft>
                <a:spcPts val="900"/>
              </a:spcAft>
            </a:pPr>
            <a:r>
              <a:rPr lang="en-AU" sz="1100" dirty="0">
                <a:solidFill>
                  <a:schemeClr val="accent6"/>
                </a:solidFill>
                <a:latin typeface="+mn-lt"/>
              </a:rPr>
              <a:t>The charter is intended to be used as a guide for all involved to facilitate high quality and efficient internal referrals, as well as inter-departmental knowledge sharing and continuous improvement for both application processes and for broader </a:t>
            </a:r>
            <a:r>
              <a:rPr lang="en-AU" sz="1100" dirty="0">
                <a:solidFill>
                  <a:schemeClr val="accent6"/>
                </a:solidFill>
                <a:highlight>
                  <a:srgbClr val="FFFF00"/>
                </a:highlight>
                <a:latin typeface="+mn-lt"/>
              </a:rPr>
              <a:t>[Council Name] </a:t>
            </a:r>
            <a:r>
              <a:rPr lang="en-AU" sz="1100" dirty="0">
                <a:solidFill>
                  <a:schemeClr val="accent6"/>
                </a:solidFill>
                <a:latin typeface="+mn-lt"/>
              </a:rPr>
              <a:t>development outcomes.</a:t>
            </a:r>
          </a:p>
        </p:txBody>
      </p:sp>
      <p:sp>
        <p:nvSpPr>
          <p:cNvPr id="4" name="Text Placeholder 11">
            <a:extLst>
              <a:ext uri="{FF2B5EF4-FFF2-40B4-BE49-F238E27FC236}">
                <a16:creationId xmlns:a16="http://schemas.microsoft.com/office/drawing/2014/main" id="{EE40C3C8-52E3-AF05-C165-33B76441A5AB}"/>
              </a:ext>
            </a:extLst>
          </p:cNvPr>
          <p:cNvSpPr txBox="1">
            <a:spLocks/>
          </p:cNvSpPr>
          <p:nvPr/>
        </p:nvSpPr>
        <p:spPr>
          <a:xfrm>
            <a:off x="540000" y="6678486"/>
            <a:ext cx="3881981" cy="311424"/>
          </a:xfrm>
          <a:prstGeom prst="rect">
            <a:avLst/>
          </a:prstGeom>
        </p:spPr>
        <p:txBody>
          <a:bodyPr vert="horz" wrap="square" lIns="0" tIns="70386" rIns="0" bIns="70386" rtlCol="0" anchor="b" anchorCtr="0">
            <a:spAutoFit/>
          </a:bodyPr>
          <a:lstStyle>
            <a:lvl1pPr marL="0" indent="0" algn="l" defTabSz="995230" rtl="0" eaLnBrk="1" latinLnBrk="0" hangingPunct="1">
              <a:spcBef>
                <a:spcPts val="1306"/>
              </a:spcBef>
              <a:buFont typeface="Arial" pitchFamily="34" charset="0"/>
              <a:buNone/>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95922" indent="-195922" algn="l" defTabSz="995230" rtl="0" eaLnBrk="1" latinLnBrk="0" hangingPunct="1">
              <a:spcBef>
                <a:spcPts val="436"/>
              </a:spcBef>
              <a:buClr>
                <a:schemeClr val="bg2"/>
              </a:buClr>
              <a:buFont typeface="Arial" pitchFamily="34" charset="0"/>
              <a:buChar char="•"/>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548582" indent="-195922" algn="l" defTabSz="995230" rtl="0" eaLnBrk="1" latinLnBrk="0" hangingPunct="1">
              <a:spcBef>
                <a:spcPts val="436"/>
              </a:spcBef>
              <a:buClr>
                <a:schemeClr val="bg2"/>
              </a:buClr>
              <a:buFont typeface="Arial" pitchFamily="34" charset="0"/>
              <a:buChar char="•"/>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901242" indent="-195922" algn="l" defTabSz="995230" rtl="0" eaLnBrk="1" latinLnBrk="0" hangingPunct="1">
              <a:spcBef>
                <a:spcPts val="436"/>
              </a:spcBef>
              <a:buClr>
                <a:schemeClr val="bg2"/>
              </a:buClr>
              <a:buFont typeface="Arial" pitchFamily="34" charset="0"/>
              <a:buChar char="•"/>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214718" indent="-195922" algn="l" defTabSz="995230" rtl="0" eaLnBrk="1" latinLnBrk="0" hangingPunct="1">
              <a:spcBef>
                <a:spcPts val="436"/>
              </a:spcBef>
              <a:buClr>
                <a:schemeClr val="bg2"/>
              </a:buClr>
              <a:buFont typeface="Arial" pitchFamily="34" charset="0"/>
              <a:buChar char="•"/>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587734" indent="-293868" algn="l" defTabSz="995230" rtl="0" eaLnBrk="1" latinLnBrk="0" hangingPunct="1">
              <a:spcBef>
                <a:spcPts val="436"/>
              </a:spcBef>
              <a:buClr>
                <a:schemeClr val="bg2"/>
              </a:buClr>
              <a:buFont typeface="+mj-lt"/>
              <a:buAutoNum type="arabicPeriod"/>
              <a:defRPr sz="1626"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81600" indent="-293868" algn="l" defTabSz="995230" rtl="0" eaLnBrk="1" latinLnBrk="0" hangingPunct="1">
              <a:spcBef>
                <a:spcPts val="436"/>
              </a:spcBef>
              <a:buClr>
                <a:schemeClr val="bg2"/>
              </a:buClr>
              <a:buFont typeface="+mj-lt"/>
              <a:buAutoNum type="alphaLcPeriod"/>
              <a:defRPr sz="1626"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175467" indent="-293868" algn="l" defTabSz="995230" rtl="0" eaLnBrk="1" latinLnBrk="0" hangingPunct="1">
              <a:spcBef>
                <a:spcPts val="436"/>
              </a:spcBef>
              <a:buClr>
                <a:schemeClr val="bg2"/>
              </a:buClr>
              <a:buFont typeface="+mj-lt"/>
              <a:buAutoNum type="romanLcPeriod"/>
              <a:defRPr sz="1626"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229720" indent="-248807" algn="l" defTabSz="995230" rtl="0" eaLnBrk="1" latinLnBrk="0" hangingPunct="1">
              <a:spcBef>
                <a:spcPct val="20000"/>
              </a:spcBef>
              <a:buFont typeface="Arial" pitchFamily="34" charset="0"/>
              <a:buChar char="•"/>
              <a:defRPr sz="2191" kern="1200">
                <a:solidFill>
                  <a:schemeClr val="tx1"/>
                </a:solidFill>
                <a:latin typeface="+mn-lt"/>
                <a:ea typeface="+mn-ea"/>
                <a:cs typeface="+mn-cs"/>
              </a:defRPr>
            </a:lvl9pPr>
          </a:lstStyle>
          <a:p>
            <a:pPr>
              <a:spcBef>
                <a:spcPts val="300"/>
              </a:spcBef>
            </a:pPr>
            <a:r>
              <a:rPr lang="en-AU" sz="1100" dirty="0">
                <a:solidFill>
                  <a:schemeClr val="accent6"/>
                </a:solidFill>
                <a:latin typeface="Segoe UI Semibold" panose="020B0702040204020203" pitchFamily="34" charset="0"/>
                <a:cs typeface="Segoe UI Semibold" panose="020B0702040204020203" pitchFamily="34" charset="0"/>
              </a:rPr>
              <a:t>Version 1, </a:t>
            </a:r>
            <a:r>
              <a:rPr lang="en-AU" sz="1100" dirty="0">
                <a:solidFill>
                  <a:schemeClr val="accent6"/>
                </a:solidFill>
                <a:highlight>
                  <a:srgbClr val="FFFF00"/>
                </a:highlight>
                <a:latin typeface="Segoe UI Semibold" panose="020B0702040204020203" pitchFamily="34" charset="0"/>
                <a:cs typeface="Segoe UI Semibold" panose="020B0702040204020203" pitchFamily="34" charset="0"/>
              </a:rPr>
              <a:t>[Date] </a:t>
            </a:r>
          </a:p>
        </p:txBody>
      </p:sp>
      <p:sp>
        <p:nvSpPr>
          <p:cNvPr id="12" name="Rectangle 11">
            <a:extLst>
              <a:ext uri="{FF2B5EF4-FFF2-40B4-BE49-F238E27FC236}">
                <a16:creationId xmlns:a16="http://schemas.microsoft.com/office/drawing/2014/main" id="{7A6253BC-7383-9862-B6B1-551D83FE6C0B}"/>
              </a:ext>
              <a:ext uri="{C183D7F6-B498-43B3-948B-1728B52AA6E4}">
                <adec:decorative xmlns:adec="http://schemas.microsoft.com/office/drawing/2017/decorative" val="1"/>
              </a:ext>
            </a:extLst>
          </p:cNvPr>
          <p:cNvSpPr/>
          <p:nvPr/>
        </p:nvSpPr>
        <p:spPr>
          <a:xfrm>
            <a:off x="0" y="7415675"/>
            <a:ext cx="10691813" cy="14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8" name="Group 7">
            <a:extLst>
              <a:ext uri="{FF2B5EF4-FFF2-40B4-BE49-F238E27FC236}">
                <a16:creationId xmlns:a16="http://schemas.microsoft.com/office/drawing/2014/main" id="{7CE9F477-3806-4CAD-75A0-C5727F05EA36}"/>
              </a:ext>
              <a:ext uri="{C183D7F6-B498-43B3-948B-1728B52AA6E4}">
                <adec:decorative xmlns:adec="http://schemas.microsoft.com/office/drawing/2017/decorative" val="1"/>
              </a:ext>
            </a:extLst>
          </p:cNvPr>
          <p:cNvGrpSpPr/>
          <p:nvPr/>
        </p:nvGrpSpPr>
        <p:grpSpPr>
          <a:xfrm flipH="1">
            <a:off x="8065293" y="1047678"/>
            <a:ext cx="2070000" cy="2054557"/>
            <a:chOff x="3783294" y="6258808"/>
            <a:chExt cx="1197308" cy="1187793"/>
          </a:xfrm>
        </p:grpSpPr>
        <p:sp>
          <p:nvSpPr>
            <p:cNvPr id="9" name="Freeform: Shape 8">
              <a:extLst>
                <a:ext uri="{FF2B5EF4-FFF2-40B4-BE49-F238E27FC236}">
                  <a16:creationId xmlns:a16="http://schemas.microsoft.com/office/drawing/2014/main" id="{CEA890D8-2CEB-0487-8D9F-11661D6348B6}"/>
                </a:ext>
              </a:extLst>
            </p:cNvPr>
            <p:cNvSpPr/>
            <p:nvPr/>
          </p:nvSpPr>
          <p:spPr>
            <a:xfrm flipH="1">
              <a:off x="3830602" y="7364231"/>
              <a:ext cx="876618" cy="82370"/>
            </a:xfrm>
            <a:custGeom>
              <a:avLst/>
              <a:gdLst>
                <a:gd name="connsiteX0" fmla="*/ 876618 w 876618"/>
                <a:gd name="connsiteY0" fmla="*/ 41185 h 82370"/>
                <a:gd name="connsiteX1" fmla="*/ 438309 w 876618"/>
                <a:gd name="connsiteY1" fmla="*/ 82370 h 82370"/>
                <a:gd name="connsiteX2" fmla="*/ 0 w 876618"/>
                <a:gd name="connsiteY2" fmla="*/ 41185 h 82370"/>
                <a:gd name="connsiteX3" fmla="*/ 438309 w 876618"/>
                <a:gd name="connsiteY3" fmla="*/ 0 h 82370"/>
                <a:gd name="connsiteX4" fmla="*/ 876618 w 876618"/>
                <a:gd name="connsiteY4" fmla="*/ 41185 h 82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618" h="82370">
                  <a:moveTo>
                    <a:pt x="876618" y="41185"/>
                  </a:moveTo>
                  <a:cubicBezTo>
                    <a:pt x="876618" y="63921"/>
                    <a:pt x="680370" y="82370"/>
                    <a:pt x="438309" y="82370"/>
                  </a:cubicBezTo>
                  <a:cubicBezTo>
                    <a:pt x="196248" y="82370"/>
                    <a:pt x="0" y="63921"/>
                    <a:pt x="0" y="41185"/>
                  </a:cubicBezTo>
                  <a:cubicBezTo>
                    <a:pt x="0" y="18449"/>
                    <a:pt x="196248" y="0"/>
                    <a:pt x="438309" y="0"/>
                  </a:cubicBezTo>
                  <a:cubicBezTo>
                    <a:pt x="680370" y="0"/>
                    <a:pt x="876618" y="18449"/>
                    <a:pt x="876618" y="41185"/>
                  </a:cubicBezTo>
                  <a:close/>
                </a:path>
              </a:pathLst>
            </a:custGeom>
            <a:solidFill>
              <a:srgbClr val="2A3756">
                <a:alpha val="10000"/>
              </a:srgbClr>
            </a:solidFill>
            <a:ln w="6471" cap="flat">
              <a:noFill/>
              <a:prstDash val="solid"/>
              <a:miter/>
            </a:ln>
          </p:spPr>
          <p:txBody>
            <a:bodyPr rtlCol="0" anchor="ctr"/>
            <a:lstStyle/>
            <a:p>
              <a:endParaRPr lang="en-AU"/>
            </a:p>
          </p:txBody>
        </p:sp>
        <p:grpSp>
          <p:nvGrpSpPr>
            <p:cNvPr id="10" name="Graphic 72">
              <a:extLst>
                <a:ext uri="{FF2B5EF4-FFF2-40B4-BE49-F238E27FC236}">
                  <a16:creationId xmlns:a16="http://schemas.microsoft.com/office/drawing/2014/main" id="{1CED2052-183B-F3AB-48D5-B3801FB434CB}"/>
                </a:ext>
              </a:extLst>
            </p:cNvPr>
            <p:cNvGrpSpPr/>
            <p:nvPr/>
          </p:nvGrpSpPr>
          <p:grpSpPr>
            <a:xfrm flipH="1">
              <a:off x="4505774" y="6612767"/>
              <a:ext cx="352697" cy="180525"/>
              <a:chOff x="3907049" y="6612767"/>
              <a:chExt cx="352697" cy="180525"/>
            </a:xfrm>
          </p:grpSpPr>
          <p:grpSp>
            <p:nvGrpSpPr>
              <p:cNvPr id="55" name="Graphic 72">
                <a:extLst>
                  <a:ext uri="{FF2B5EF4-FFF2-40B4-BE49-F238E27FC236}">
                    <a16:creationId xmlns:a16="http://schemas.microsoft.com/office/drawing/2014/main" id="{5148027D-03AE-A010-BA3D-559C6487A11B}"/>
                  </a:ext>
                </a:extLst>
              </p:cNvPr>
              <p:cNvGrpSpPr/>
              <p:nvPr/>
            </p:nvGrpSpPr>
            <p:grpSpPr>
              <a:xfrm>
                <a:off x="3938017" y="6779975"/>
                <a:ext cx="321729" cy="13316"/>
                <a:chOff x="3938017" y="6779975"/>
                <a:chExt cx="321729" cy="13316"/>
              </a:xfrm>
            </p:grpSpPr>
            <p:sp>
              <p:nvSpPr>
                <p:cNvPr id="86" name="Freeform: Shape 85">
                  <a:extLst>
                    <a:ext uri="{FF2B5EF4-FFF2-40B4-BE49-F238E27FC236}">
                      <a16:creationId xmlns:a16="http://schemas.microsoft.com/office/drawing/2014/main" id="{19F0FABE-1205-78A2-831E-545728EE2A90}"/>
                    </a:ext>
                  </a:extLst>
                </p:cNvPr>
                <p:cNvSpPr/>
                <p:nvPr/>
              </p:nvSpPr>
              <p:spPr>
                <a:xfrm>
                  <a:off x="3939837" y="6786601"/>
                  <a:ext cx="318155" cy="6690"/>
                </a:xfrm>
                <a:custGeom>
                  <a:avLst/>
                  <a:gdLst>
                    <a:gd name="connsiteX0" fmla="*/ 11567 w 318155"/>
                    <a:gd name="connsiteY0" fmla="*/ 6691 h 6690"/>
                    <a:gd name="connsiteX1" fmla="*/ 306589 w 318155"/>
                    <a:gd name="connsiteY1" fmla="*/ 6691 h 6690"/>
                    <a:gd name="connsiteX2" fmla="*/ 318156 w 318155"/>
                    <a:gd name="connsiteY2" fmla="*/ 0 h 6690"/>
                    <a:gd name="connsiteX3" fmla="*/ 0 w 318155"/>
                    <a:gd name="connsiteY3" fmla="*/ 0 h 6690"/>
                    <a:gd name="connsiteX4" fmla="*/ 11567 w 318155"/>
                    <a:gd name="connsiteY4" fmla="*/ 6691 h 6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155" h="6690">
                      <a:moveTo>
                        <a:pt x="11567" y="6691"/>
                      </a:moveTo>
                      <a:lnTo>
                        <a:pt x="306589" y="6691"/>
                      </a:lnTo>
                      <a:cubicBezTo>
                        <a:pt x="311528" y="6691"/>
                        <a:pt x="315817" y="4028"/>
                        <a:pt x="318156" y="0"/>
                      </a:cubicBezTo>
                      <a:lnTo>
                        <a:pt x="0" y="0"/>
                      </a:lnTo>
                      <a:cubicBezTo>
                        <a:pt x="2339" y="3963"/>
                        <a:pt x="6628" y="6691"/>
                        <a:pt x="11567" y="6691"/>
                      </a:cubicBezTo>
                      <a:close/>
                    </a:path>
                  </a:pathLst>
                </a:custGeom>
                <a:solidFill>
                  <a:srgbClr val="CECCCC"/>
                </a:solidFill>
                <a:ln w="6471" cap="flat">
                  <a:noFill/>
                  <a:prstDash val="solid"/>
                  <a:miter/>
                </a:ln>
              </p:spPr>
              <p:txBody>
                <a:bodyPr rtlCol="0" anchor="ctr"/>
                <a:lstStyle/>
                <a:p>
                  <a:endParaRPr lang="en-AU"/>
                </a:p>
              </p:txBody>
            </p:sp>
            <p:sp>
              <p:nvSpPr>
                <p:cNvPr id="87" name="Freeform: Shape 86">
                  <a:extLst>
                    <a:ext uri="{FF2B5EF4-FFF2-40B4-BE49-F238E27FC236}">
                      <a16:creationId xmlns:a16="http://schemas.microsoft.com/office/drawing/2014/main" id="{DA5637AE-5AA7-F039-B3F3-D840BD18A89E}"/>
                    </a:ext>
                  </a:extLst>
                </p:cNvPr>
                <p:cNvSpPr/>
                <p:nvPr/>
              </p:nvSpPr>
              <p:spPr>
                <a:xfrm>
                  <a:off x="3938017" y="6779975"/>
                  <a:ext cx="321729" cy="6690"/>
                </a:xfrm>
                <a:custGeom>
                  <a:avLst/>
                  <a:gdLst>
                    <a:gd name="connsiteX0" fmla="*/ 0 w 321729"/>
                    <a:gd name="connsiteY0" fmla="*/ 0 h 6690"/>
                    <a:gd name="connsiteX1" fmla="*/ 1820 w 321729"/>
                    <a:gd name="connsiteY1" fmla="*/ 6691 h 6690"/>
                    <a:gd name="connsiteX2" fmla="*/ 319910 w 321729"/>
                    <a:gd name="connsiteY2" fmla="*/ 6691 h 6690"/>
                    <a:gd name="connsiteX3" fmla="*/ 321730 w 321729"/>
                    <a:gd name="connsiteY3" fmla="*/ 0 h 6690"/>
                    <a:gd name="connsiteX4" fmla="*/ 0 w 321729"/>
                    <a:gd name="connsiteY4" fmla="*/ 0 h 6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729" h="6690">
                      <a:moveTo>
                        <a:pt x="0" y="0"/>
                      </a:moveTo>
                      <a:cubicBezTo>
                        <a:pt x="0" y="2404"/>
                        <a:pt x="650" y="4742"/>
                        <a:pt x="1820" y="6691"/>
                      </a:cubicBezTo>
                      <a:lnTo>
                        <a:pt x="319910" y="6691"/>
                      </a:lnTo>
                      <a:cubicBezTo>
                        <a:pt x="321080" y="4742"/>
                        <a:pt x="321730" y="2468"/>
                        <a:pt x="321730" y="0"/>
                      </a:cubicBezTo>
                      <a:lnTo>
                        <a:pt x="0" y="0"/>
                      </a:lnTo>
                      <a:close/>
                    </a:path>
                  </a:pathLst>
                </a:custGeom>
                <a:solidFill>
                  <a:srgbClr val="DDDDDD"/>
                </a:solidFill>
                <a:ln w="6471" cap="flat">
                  <a:noFill/>
                  <a:prstDash val="solid"/>
                  <a:miter/>
                </a:ln>
              </p:spPr>
              <p:txBody>
                <a:bodyPr rtlCol="0" anchor="ctr"/>
                <a:lstStyle/>
                <a:p>
                  <a:endParaRPr lang="en-AU"/>
                </a:p>
              </p:txBody>
            </p:sp>
          </p:grpSp>
          <p:grpSp>
            <p:nvGrpSpPr>
              <p:cNvPr id="56" name="Graphic 72">
                <a:extLst>
                  <a:ext uri="{FF2B5EF4-FFF2-40B4-BE49-F238E27FC236}">
                    <a16:creationId xmlns:a16="http://schemas.microsoft.com/office/drawing/2014/main" id="{BDA2B53F-1917-AFB4-C34B-9C2B3B6E7716}"/>
                  </a:ext>
                </a:extLst>
              </p:cNvPr>
              <p:cNvGrpSpPr/>
              <p:nvPr/>
            </p:nvGrpSpPr>
            <p:grpSpPr>
              <a:xfrm>
                <a:off x="3907049" y="6612767"/>
                <a:ext cx="280583" cy="167208"/>
                <a:chOff x="3907049" y="6612767"/>
                <a:chExt cx="280583" cy="167208"/>
              </a:xfrm>
            </p:grpSpPr>
            <p:sp>
              <p:nvSpPr>
                <p:cNvPr id="57" name="Freeform: Shape 56">
                  <a:extLst>
                    <a:ext uri="{FF2B5EF4-FFF2-40B4-BE49-F238E27FC236}">
                      <a16:creationId xmlns:a16="http://schemas.microsoft.com/office/drawing/2014/main" id="{22E1F0C9-96E9-DD44-0577-BA0C6128070E}"/>
                    </a:ext>
                  </a:extLst>
                </p:cNvPr>
                <p:cNvSpPr/>
                <p:nvPr/>
              </p:nvSpPr>
              <p:spPr>
                <a:xfrm>
                  <a:off x="3907049" y="6612767"/>
                  <a:ext cx="280583" cy="167208"/>
                </a:xfrm>
                <a:custGeom>
                  <a:avLst/>
                  <a:gdLst>
                    <a:gd name="connsiteX0" fmla="*/ 280502 w 280583"/>
                    <a:gd name="connsiteY0" fmla="*/ 161687 h 167208"/>
                    <a:gd name="connsiteX1" fmla="*/ 275953 w 280583"/>
                    <a:gd name="connsiteY1" fmla="*/ 167209 h 167208"/>
                    <a:gd name="connsiteX2" fmla="*/ 35907 w 280583"/>
                    <a:gd name="connsiteY2" fmla="*/ 167209 h 167208"/>
                    <a:gd name="connsiteX3" fmla="*/ 29343 w 280583"/>
                    <a:gd name="connsiteY3" fmla="*/ 161687 h 167208"/>
                    <a:gd name="connsiteX4" fmla="*/ 101 w 280583"/>
                    <a:gd name="connsiteY4" fmla="*/ 5522 h 167208"/>
                    <a:gd name="connsiteX5" fmla="*/ 4585 w 280583"/>
                    <a:gd name="connsiteY5" fmla="*/ 0 h 167208"/>
                    <a:gd name="connsiteX6" fmla="*/ 246451 w 280583"/>
                    <a:gd name="connsiteY6" fmla="*/ 0 h 167208"/>
                    <a:gd name="connsiteX7" fmla="*/ 252949 w 280583"/>
                    <a:gd name="connsiteY7" fmla="*/ 5522 h 167208"/>
                    <a:gd name="connsiteX8" fmla="*/ 280502 w 280583"/>
                    <a:gd name="connsiteY8" fmla="*/ 161687 h 167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583" h="167208">
                      <a:moveTo>
                        <a:pt x="280502" y="161687"/>
                      </a:moveTo>
                      <a:cubicBezTo>
                        <a:pt x="281022" y="164740"/>
                        <a:pt x="279007" y="167209"/>
                        <a:pt x="275953" y="167209"/>
                      </a:cubicBezTo>
                      <a:lnTo>
                        <a:pt x="35907" y="167209"/>
                      </a:lnTo>
                      <a:cubicBezTo>
                        <a:pt x="32852" y="167209"/>
                        <a:pt x="29928" y="164740"/>
                        <a:pt x="29343" y="161687"/>
                      </a:cubicBezTo>
                      <a:lnTo>
                        <a:pt x="101" y="5522"/>
                      </a:lnTo>
                      <a:cubicBezTo>
                        <a:pt x="-484" y="2468"/>
                        <a:pt x="1531" y="0"/>
                        <a:pt x="4585" y="0"/>
                      </a:cubicBezTo>
                      <a:lnTo>
                        <a:pt x="246451" y="0"/>
                      </a:lnTo>
                      <a:cubicBezTo>
                        <a:pt x="249505" y="0"/>
                        <a:pt x="252429" y="2468"/>
                        <a:pt x="252949" y="5522"/>
                      </a:cubicBezTo>
                      <a:lnTo>
                        <a:pt x="280502" y="161687"/>
                      </a:lnTo>
                      <a:close/>
                    </a:path>
                  </a:pathLst>
                </a:custGeom>
                <a:solidFill>
                  <a:srgbClr val="00264D"/>
                </a:solidFill>
                <a:ln w="6471" cap="flat">
                  <a:noFill/>
                  <a:prstDash val="solid"/>
                  <a:miter/>
                </a:ln>
              </p:spPr>
              <p:txBody>
                <a:bodyPr rtlCol="0" anchor="ctr"/>
                <a:lstStyle/>
                <a:p>
                  <a:endParaRPr lang="en-AU"/>
                </a:p>
              </p:txBody>
            </p:sp>
            <p:grpSp>
              <p:nvGrpSpPr>
                <p:cNvPr id="58" name="Graphic 72">
                  <a:extLst>
                    <a:ext uri="{FF2B5EF4-FFF2-40B4-BE49-F238E27FC236}">
                      <a16:creationId xmlns:a16="http://schemas.microsoft.com/office/drawing/2014/main" id="{9AAA9093-6FEA-3462-97B8-3339E9C743FF}"/>
                    </a:ext>
                  </a:extLst>
                </p:cNvPr>
                <p:cNvGrpSpPr/>
                <p:nvPr/>
              </p:nvGrpSpPr>
              <p:grpSpPr>
                <a:xfrm>
                  <a:off x="3923851" y="6626344"/>
                  <a:ext cx="246349" cy="140184"/>
                  <a:chOff x="3923851" y="6626344"/>
                  <a:chExt cx="246349" cy="140184"/>
                </a:xfrm>
              </p:grpSpPr>
              <p:sp>
                <p:nvSpPr>
                  <p:cNvPr id="59" name="Freeform: Shape 58">
                    <a:extLst>
                      <a:ext uri="{FF2B5EF4-FFF2-40B4-BE49-F238E27FC236}">
                        <a16:creationId xmlns:a16="http://schemas.microsoft.com/office/drawing/2014/main" id="{1780EB4D-3039-98A3-2098-6F25C523A17D}"/>
                      </a:ext>
                    </a:extLst>
                  </p:cNvPr>
                  <p:cNvSpPr/>
                  <p:nvPr/>
                </p:nvSpPr>
                <p:spPr>
                  <a:xfrm>
                    <a:off x="3923916" y="6626409"/>
                    <a:ext cx="246284" cy="140120"/>
                  </a:xfrm>
                  <a:custGeom>
                    <a:avLst/>
                    <a:gdLst>
                      <a:gd name="connsiteX0" fmla="*/ 246285 w 246284"/>
                      <a:gd name="connsiteY0" fmla="*/ 140120 h 140120"/>
                      <a:gd name="connsiteX1" fmla="*/ 26123 w 246284"/>
                      <a:gd name="connsiteY1" fmla="*/ 140120 h 140120"/>
                      <a:gd name="connsiteX2" fmla="*/ 0 w 246284"/>
                      <a:gd name="connsiteY2" fmla="*/ 0 h 140120"/>
                      <a:gd name="connsiteX3" fmla="*/ 221461 w 246284"/>
                      <a:gd name="connsiteY3" fmla="*/ 0 h 140120"/>
                      <a:gd name="connsiteX4" fmla="*/ 246285 w 246284"/>
                      <a:gd name="connsiteY4" fmla="*/ 140120 h 140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284" h="140120">
                        <a:moveTo>
                          <a:pt x="246285" y="140120"/>
                        </a:moveTo>
                        <a:lnTo>
                          <a:pt x="26123" y="140120"/>
                        </a:lnTo>
                        <a:lnTo>
                          <a:pt x="0" y="0"/>
                        </a:lnTo>
                        <a:lnTo>
                          <a:pt x="221461" y="0"/>
                        </a:lnTo>
                        <a:lnTo>
                          <a:pt x="246285" y="140120"/>
                        </a:lnTo>
                        <a:close/>
                      </a:path>
                    </a:pathLst>
                  </a:custGeom>
                  <a:solidFill>
                    <a:srgbClr val="151C28"/>
                  </a:solidFill>
                  <a:ln w="6471" cap="flat">
                    <a:noFill/>
                    <a:prstDash val="solid"/>
                    <a:miter/>
                  </a:ln>
                </p:spPr>
                <p:txBody>
                  <a:bodyPr rtlCol="0" anchor="ctr"/>
                  <a:lstStyle/>
                  <a:p>
                    <a:endParaRPr lang="en-AU"/>
                  </a:p>
                </p:txBody>
              </p:sp>
              <p:grpSp>
                <p:nvGrpSpPr>
                  <p:cNvPr id="60" name="Graphic 72">
                    <a:extLst>
                      <a:ext uri="{FF2B5EF4-FFF2-40B4-BE49-F238E27FC236}">
                        <a16:creationId xmlns:a16="http://schemas.microsoft.com/office/drawing/2014/main" id="{C6028DC6-2EF1-927C-B78E-B4F6AC9E0F67}"/>
                      </a:ext>
                    </a:extLst>
                  </p:cNvPr>
                  <p:cNvGrpSpPr/>
                  <p:nvPr/>
                </p:nvGrpSpPr>
                <p:grpSpPr>
                  <a:xfrm>
                    <a:off x="3923851" y="6626344"/>
                    <a:ext cx="223410" cy="10458"/>
                    <a:chOff x="3923851" y="6626344"/>
                    <a:chExt cx="223410" cy="10458"/>
                  </a:xfrm>
                </p:grpSpPr>
                <p:sp>
                  <p:nvSpPr>
                    <p:cNvPr id="81" name="Freeform: Shape 80">
                      <a:extLst>
                        <a:ext uri="{FF2B5EF4-FFF2-40B4-BE49-F238E27FC236}">
                          <a16:creationId xmlns:a16="http://schemas.microsoft.com/office/drawing/2014/main" id="{EC835B85-FF65-81B0-4A46-D20BA21E1C36}"/>
                        </a:ext>
                      </a:extLst>
                    </p:cNvPr>
                    <p:cNvSpPr/>
                    <p:nvPr/>
                  </p:nvSpPr>
                  <p:spPr>
                    <a:xfrm>
                      <a:off x="3923851" y="6626344"/>
                      <a:ext cx="223410" cy="10458"/>
                    </a:xfrm>
                    <a:custGeom>
                      <a:avLst/>
                      <a:gdLst>
                        <a:gd name="connsiteX0" fmla="*/ 223411 w 223410"/>
                        <a:gd name="connsiteY0" fmla="*/ 10459 h 10458"/>
                        <a:gd name="connsiteX1" fmla="*/ 1949 w 223410"/>
                        <a:gd name="connsiteY1" fmla="*/ 10459 h 10458"/>
                        <a:gd name="connsiteX2" fmla="*/ 0 w 223410"/>
                        <a:gd name="connsiteY2" fmla="*/ 0 h 10458"/>
                        <a:gd name="connsiteX3" fmla="*/ 221526 w 223410"/>
                        <a:gd name="connsiteY3" fmla="*/ 0 h 10458"/>
                        <a:gd name="connsiteX4" fmla="*/ 223411 w 223410"/>
                        <a:gd name="connsiteY4" fmla="*/ 10459 h 10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410" h="10458">
                          <a:moveTo>
                            <a:pt x="223411" y="10459"/>
                          </a:moveTo>
                          <a:lnTo>
                            <a:pt x="1949" y="10459"/>
                          </a:lnTo>
                          <a:lnTo>
                            <a:pt x="0" y="0"/>
                          </a:lnTo>
                          <a:lnTo>
                            <a:pt x="221526" y="0"/>
                          </a:lnTo>
                          <a:lnTo>
                            <a:pt x="223411" y="10459"/>
                          </a:lnTo>
                          <a:close/>
                        </a:path>
                      </a:pathLst>
                    </a:custGeom>
                    <a:solidFill>
                      <a:srgbClr val="C7C9C9"/>
                    </a:solidFill>
                    <a:ln w="6471" cap="flat">
                      <a:noFill/>
                      <a:prstDash val="solid"/>
                      <a:miter/>
                    </a:ln>
                  </p:spPr>
                  <p:txBody>
                    <a:bodyPr rtlCol="0" anchor="ctr"/>
                    <a:lstStyle/>
                    <a:p>
                      <a:endParaRPr lang="en-AU"/>
                    </a:p>
                  </p:txBody>
                </p:sp>
                <p:grpSp>
                  <p:nvGrpSpPr>
                    <p:cNvPr id="82" name="Graphic 72">
                      <a:extLst>
                        <a:ext uri="{FF2B5EF4-FFF2-40B4-BE49-F238E27FC236}">
                          <a16:creationId xmlns:a16="http://schemas.microsoft.com/office/drawing/2014/main" id="{19C45D07-4C0F-5533-A528-6F2856A90890}"/>
                        </a:ext>
                      </a:extLst>
                    </p:cNvPr>
                    <p:cNvGrpSpPr/>
                    <p:nvPr/>
                  </p:nvGrpSpPr>
                  <p:grpSpPr>
                    <a:xfrm>
                      <a:off x="3928290" y="6629007"/>
                      <a:ext cx="21922" cy="5066"/>
                      <a:chOff x="3928290" y="6629007"/>
                      <a:chExt cx="21922" cy="5066"/>
                    </a:xfrm>
                  </p:grpSpPr>
                  <p:sp>
                    <p:nvSpPr>
                      <p:cNvPr id="83" name="Freeform: Shape 82">
                        <a:extLst>
                          <a:ext uri="{FF2B5EF4-FFF2-40B4-BE49-F238E27FC236}">
                            <a16:creationId xmlns:a16="http://schemas.microsoft.com/office/drawing/2014/main" id="{1BBEF7EB-C3A8-DD25-41C6-920668ECF573}"/>
                          </a:ext>
                        </a:extLst>
                      </p:cNvPr>
                      <p:cNvSpPr/>
                      <p:nvPr/>
                    </p:nvSpPr>
                    <p:spPr>
                      <a:xfrm>
                        <a:off x="3928290" y="6629007"/>
                        <a:ext cx="5222" cy="5066"/>
                      </a:xfrm>
                      <a:custGeom>
                        <a:avLst/>
                        <a:gdLst>
                          <a:gd name="connsiteX0" fmla="*/ 5178 w 5222"/>
                          <a:gd name="connsiteY0" fmla="*/ 2533 h 5066"/>
                          <a:gd name="connsiteX1" fmla="*/ 3098 w 5222"/>
                          <a:gd name="connsiteY1" fmla="*/ 5067 h 5066"/>
                          <a:gd name="connsiteX2" fmla="*/ 44 w 5222"/>
                          <a:gd name="connsiteY2" fmla="*/ 2533 h 5066"/>
                          <a:gd name="connsiteX3" fmla="*/ 2124 w 5222"/>
                          <a:gd name="connsiteY3" fmla="*/ 0 h 5066"/>
                          <a:gd name="connsiteX4" fmla="*/ 5178 w 5222"/>
                          <a:gd name="connsiteY4" fmla="*/ 2533 h 50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2" h="5066">
                            <a:moveTo>
                              <a:pt x="5178" y="2533"/>
                            </a:moveTo>
                            <a:cubicBezTo>
                              <a:pt x="5438" y="3963"/>
                              <a:pt x="4528" y="5067"/>
                              <a:pt x="3098" y="5067"/>
                            </a:cubicBezTo>
                            <a:cubicBezTo>
                              <a:pt x="1669" y="5067"/>
                              <a:pt x="304" y="3898"/>
                              <a:pt x="44" y="2533"/>
                            </a:cubicBezTo>
                            <a:cubicBezTo>
                              <a:pt x="-216" y="1104"/>
                              <a:pt x="694" y="0"/>
                              <a:pt x="2124" y="0"/>
                            </a:cubicBezTo>
                            <a:cubicBezTo>
                              <a:pt x="3553" y="0"/>
                              <a:pt x="4918" y="1169"/>
                              <a:pt x="5178" y="2533"/>
                            </a:cubicBezTo>
                            <a:close/>
                          </a:path>
                        </a:pathLst>
                      </a:custGeom>
                      <a:solidFill>
                        <a:srgbClr val="2C72B5"/>
                      </a:solidFill>
                      <a:ln w="6471" cap="flat">
                        <a:noFill/>
                        <a:prstDash val="solid"/>
                        <a:miter/>
                      </a:ln>
                    </p:spPr>
                    <p:txBody>
                      <a:bodyPr rtlCol="0" anchor="ctr"/>
                      <a:lstStyle/>
                      <a:p>
                        <a:endParaRPr lang="en-AU"/>
                      </a:p>
                    </p:txBody>
                  </p:sp>
                  <p:sp>
                    <p:nvSpPr>
                      <p:cNvPr id="84" name="Freeform: Shape 83">
                        <a:extLst>
                          <a:ext uri="{FF2B5EF4-FFF2-40B4-BE49-F238E27FC236}">
                            <a16:creationId xmlns:a16="http://schemas.microsoft.com/office/drawing/2014/main" id="{317EE325-708B-FDA4-1DD7-E9201F6B3B7C}"/>
                          </a:ext>
                        </a:extLst>
                      </p:cNvPr>
                      <p:cNvSpPr/>
                      <p:nvPr/>
                    </p:nvSpPr>
                    <p:spPr>
                      <a:xfrm>
                        <a:off x="3936608" y="6629007"/>
                        <a:ext cx="5222" cy="5066"/>
                      </a:xfrm>
                      <a:custGeom>
                        <a:avLst/>
                        <a:gdLst>
                          <a:gd name="connsiteX0" fmla="*/ 5178 w 5222"/>
                          <a:gd name="connsiteY0" fmla="*/ 2533 h 5066"/>
                          <a:gd name="connsiteX1" fmla="*/ 3098 w 5222"/>
                          <a:gd name="connsiteY1" fmla="*/ 5067 h 5066"/>
                          <a:gd name="connsiteX2" fmla="*/ 44 w 5222"/>
                          <a:gd name="connsiteY2" fmla="*/ 2533 h 5066"/>
                          <a:gd name="connsiteX3" fmla="*/ 2124 w 5222"/>
                          <a:gd name="connsiteY3" fmla="*/ 0 h 5066"/>
                          <a:gd name="connsiteX4" fmla="*/ 5178 w 5222"/>
                          <a:gd name="connsiteY4" fmla="*/ 2533 h 50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2" h="5066">
                            <a:moveTo>
                              <a:pt x="5178" y="2533"/>
                            </a:moveTo>
                            <a:cubicBezTo>
                              <a:pt x="5438" y="3963"/>
                              <a:pt x="4528" y="5067"/>
                              <a:pt x="3098" y="5067"/>
                            </a:cubicBezTo>
                            <a:cubicBezTo>
                              <a:pt x="1669" y="5067"/>
                              <a:pt x="304" y="3898"/>
                              <a:pt x="44" y="2533"/>
                            </a:cubicBezTo>
                            <a:cubicBezTo>
                              <a:pt x="-216" y="1104"/>
                              <a:pt x="694" y="0"/>
                              <a:pt x="2124" y="0"/>
                            </a:cubicBezTo>
                            <a:cubicBezTo>
                              <a:pt x="3553" y="0"/>
                              <a:pt x="4918" y="1169"/>
                              <a:pt x="5178" y="2533"/>
                            </a:cubicBezTo>
                            <a:close/>
                          </a:path>
                        </a:pathLst>
                      </a:custGeom>
                      <a:solidFill>
                        <a:srgbClr val="25B3E0"/>
                      </a:solidFill>
                      <a:ln w="6471" cap="flat">
                        <a:noFill/>
                        <a:prstDash val="solid"/>
                        <a:miter/>
                      </a:ln>
                    </p:spPr>
                    <p:txBody>
                      <a:bodyPr rtlCol="0" anchor="ctr"/>
                      <a:lstStyle/>
                      <a:p>
                        <a:endParaRPr lang="en-AU"/>
                      </a:p>
                    </p:txBody>
                  </p:sp>
                  <p:sp>
                    <p:nvSpPr>
                      <p:cNvPr id="85" name="Freeform: Shape 84">
                        <a:extLst>
                          <a:ext uri="{FF2B5EF4-FFF2-40B4-BE49-F238E27FC236}">
                            <a16:creationId xmlns:a16="http://schemas.microsoft.com/office/drawing/2014/main" id="{3B8B57C0-C46C-C5C9-195E-416B880485C9}"/>
                          </a:ext>
                        </a:extLst>
                      </p:cNvPr>
                      <p:cNvSpPr/>
                      <p:nvPr/>
                    </p:nvSpPr>
                    <p:spPr>
                      <a:xfrm>
                        <a:off x="3944991" y="6629007"/>
                        <a:ext cx="5222" cy="5066"/>
                      </a:xfrm>
                      <a:custGeom>
                        <a:avLst/>
                        <a:gdLst>
                          <a:gd name="connsiteX0" fmla="*/ 5178 w 5222"/>
                          <a:gd name="connsiteY0" fmla="*/ 2533 h 5066"/>
                          <a:gd name="connsiteX1" fmla="*/ 3098 w 5222"/>
                          <a:gd name="connsiteY1" fmla="*/ 5067 h 5066"/>
                          <a:gd name="connsiteX2" fmla="*/ 44 w 5222"/>
                          <a:gd name="connsiteY2" fmla="*/ 2533 h 5066"/>
                          <a:gd name="connsiteX3" fmla="*/ 2124 w 5222"/>
                          <a:gd name="connsiteY3" fmla="*/ 0 h 5066"/>
                          <a:gd name="connsiteX4" fmla="*/ 5178 w 5222"/>
                          <a:gd name="connsiteY4" fmla="*/ 2533 h 50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2" h="5066">
                            <a:moveTo>
                              <a:pt x="5178" y="2533"/>
                            </a:moveTo>
                            <a:cubicBezTo>
                              <a:pt x="5438" y="3963"/>
                              <a:pt x="4528" y="5067"/>
                              <a:pt x="3098" y="5067"/>
                            </a:cubicBezTo>
                            <a:cubicBezTo>
                              <a:pt x="1669" y="5067"/>
                              <a:pt x="304" y="3898"/>
                              <a:pt x="44" y="2533"/>
                            </a:cubicBezTo>
                            <a:cubicBezTo>
                              <a:pt x="-216" y="1104"/>
                              <a:pt x="694" y="0"/>
                              <a:pt x="2124" y="0"/>
                            </a:cubicBezTo>
                            <a:cubicBezTo>
                              <a:pt x="3553" y="0"/>
                              <a:pt x="4918" y="1169"/>
                              <a:pt x="5178" y="2533"/>
                            </a:cubicBezTo>
                            <a:close/>
                          </a:path>
                        </a:pathLst>
                      </a:custGeom>
                      <a:solidFill>
                        <a:srgbClr val="F8981D"/>
                      </a:solidFill>
                      <a:ln w="6471" cap="flat">
                        <a:noFill/>
                        <a:prstDash val="solid"/>
                        <a:miter/>
                      </a:ln>
                    </p:spPr>
                    <p:txBody>
                      <a:bodyPr rtlCol="0" anchor="ctr"/>
                      <a:lstStyle/>
                      <a:p>
                        <a:endParaRPr lang="en-AU"/>
                      </a:p>
                    </p:txBody>
                  </p:sp>
                </p:grpSp>
              </p:grpSp>
              <p:grpSp>
                <p:nvGrpSpPr>
                  <p:cNvPr id="61" name="Graphic 72">
                    <a:extLst>
                      <a:ext uri="{FF2B5EF4-FFF2-40B4-BE49-F238E27FC236}">
                        <a16:creationId xmlns:a16="http://schemas.microsoft.com/office/drawing/2014/main" id="{A1A983CA-4B3C-60CC-3ADF-CF1C6F9DD4B8}"/>
                      </a:ext>
                    </a:extLst>
                  </p:cNvPr>
                  <p:cNvGrpSpPr/>
                  <p:nvPr/>
                </p:nvGrpSpPr>
                <p:grpSpPr>
                  <a:xfrm>
                    <a:off x="3950894" y="6644533"/>
                    <a:ext cx="171468" cy="115889"/>
                    <a:chOff x="3950894" y="6644533"/>
                    <a:chExt cx="171468" cy="115889"/>
                  </a:xfrm>
                </p:grpSpPr>
                <p:sp>
                  <p:nvSpPr>
                    <p:cNvPr id="62" name="Freeform: Shape 61">
                      <a:extLst>
                        <a:ext uri="{FF2B5EF4-FFF2-40B4-BE49-F238E27FC236}">
                          <a16:creationId xmlns:a16="http://schemas.microsoft.com/office/drawing/2014/main" id="{F40E7D60-3D98-6F05-2D04-689D428ED767}"/>
                        </a:ext>
                      </a:extLst>
                    </p:cNvPr>
                    <p:cNvSpPr/>
                    <p:nvPr/>
                  </p:nvSpPr>
                  <p:spPr>
                    <a:xfrm>
                      <a:off x="3950894" y="6644533"/>
                      <a:ext cx="23697" cy="6236"/>
                    </a:xfrm>
                    <a:custGeom>
                      <a:avLst/>
                      <a:gdLst>
                        <a:gd name="connsiteX0" fmla="*/ 23643 w 23697"/>
                        <a:gd name="connsiteY0" fmla="*/ 3118 h 6236"/>
                        <a:gd name="connsiteX1" fmla="*/ 21109 w 23697"/>
                        <a:gd name="connsiteY1" fmla="*/ 6236 h 6236"/>
                        <a:gd name="connsiteX2" fmla="*/ 3758 w 23697"/>
                        <a:gd name="connsiteY2" fmla="*/ 6236 h 6236"/>
                        <a:gd name="connsiteX3" fmla="*/ 54 w 23697"/>
                        <a:gd name="connsiteY3" fmla="*/ 3118 h 6236"/>
                        <a:gd name="connsiteX4" fmla="*/ 54 w 23697"/>
                        <a:gd name="connsiteY4" fmla="*/ 3118 h 6236"/>
                        <a:gd name="connsiteX5" fmla="*/ 2589 w 23697"/>
                        <a:gd name="connsiteY5" fmla="*/ 0 h 6236"/>
                        <a:gd name="connsiteX6" fmla="*/ 19939 w 23697"/>
                        <a:gd name="connsiteY6" fmla="*/ 0 h 6236"/>
                        <a:gd name="connsiteX7" fmla="*/ 23643 w 23697"/>
                        <a:gd name="connsiteY7" fmla="*/ 3118 h 6236"/>
                        <a:gd name="connsiteX8" fmla="*/ 23643 w 23697"/>
                        <a:gd name="connsiteY8" fmla="*/ 3118 h 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97" h="6236">
                          <a:moveTo>
                            <a:pt x="23643" y="3118"/>
                          </a:moveTo>
                          <a:cubicBezTo>
                            <a:pt x="23968" y="4807"/>
                            <a:pt x="22798" y="6236"/>
                            <a:pt x="21109" y="6236"/>
                          </a:cubicBezTo>
                          <a:lnTo>
                            <a:pt x="3758" y="6236"/>
                          </a:lnTo>
                          <a:cubicBezTo>
                            <a:pt x="2004" y="6236"/>
                            <a:pt x="379" y="4872"/>
                            <a:pt x="54" y="3118"/>
                          </a:cubicBezTo>
                          <a:lnTo>
                            <a:pt x="54" y="3118"/>
                          </a:lnTo>
                          <a:cubicBezTo>
                            <a:pt x="-271" y="1429"/>
                            <a:pt x="899" y="0"/>
                            <a:pt x="2589" y="0"/>
                          </a:cubicBezTo>
                          <a:lnTo>
                            <a:pt x="19939" y="0"/>
                          </a:lnTo>
                          <a:cubicBezTo>
                            <a:pt x="21694" y="0"/>
                            <a:pt x="23318" y="1429"/>
                            <a:pt x="23643" y="3118"/>
                          </a:cubicBezTo>
                          <a:lnTo>
                            <a:pt x="23643" y="3118"/>
                          </a:lnTo>
                          <a:close/>
                        </a:path>
                      </a:pathLst>
                    </a:custGeom>
                    <a:solidFill>
                      <a:srgbClr val="FFFFFF"/>
                    </a:solidFill>
                    <a:ln w="6471" cap="flat">
                      <a:noFill/>
                      <a:prstDash val="solid"/>
                      <a:miter/>
                    </a:ln>
                  </p:spPr>
                  <p:txBody>
                    <a:bodyPr rtlCol="0" anchor="ctr"/>
                    <a:lstStyle/>
                    <a:p>
                      <a:endParaRPr lang="en-AU"/>
                    </a:p>
                  </p:txBody>
                </p:sp>
                <p:sp>
                  <p:nvSpPr>
                    <p:cNvPr id="63" name="Freeform: Shape 62">
                      <a:extLst>
                        <a:ext uri="{FF2B5EF4-FFF2-40B4-BE49-F238E27FC236}">
                          <a16:creationId xmlns:a16="http://schemas.microsoft.com/office/drawing/2014/main" id="{1B2E9C8B-4175-1135-666D-8D57B94CAF5D}"/>
                        </a:ext>
                      </a:extLst>
                    </p:cNvPr>
                    <p:cNvSpPr/>
                    <p:nvPr/>
                  </p:nvSpPr>
                  <p:spPr>
                    <a:xfrm>
                      <a:off x="3962071" y="6652977"/>
                      <a:ext cx="23697" cy="6236"/>
                    </a:xfrm>
                    <a:custGeom>
                      <a:avLst/>
                      <a:gdLst>
                        <a:gd name="connsiteX0" fmla="*/ 23643 w 23697"/>
                        <a:gd name="connsiteY0" fmla="*/ 3118 h 6236"/>
                        <a:gd name="connsiteX1" fmla="*/ 21109 w 23697"/>
                        <a:gd name="connsiteY1" fmla="*/ 6236 h 6236"/>
                        <a:gd name="connsiteX2" fmla="*/ 3758 w 23697"/>
                        <a:gd name="connsiteY2" fmla="*/ 6236 h 6236"/>
                        <a:gd name="connsiteX3" fmla="*/ 54 w 23697"/>
                        <a:gd name="connsiteY3" fmla="*/ 3118 h 6236"/>
                        <a:gd name="connsiteX4" fmla="*/ 54 w 23697"/>
                        <a:gd name="connsiteY4" fmla="*/ 3118 h 6236"/>
                        <a:gd name="connsiteX5" fmla="*/ 2589 w 23697"/>
                        <a:gd name="connsiteY5" fmla="*/ 0 h 6236"/>
                        <a:gd name="connsiteX6" fmla="*/ 19939 w 23697"/>
                        <a:gd name="connsiteY6" fmla="*/ 0 h 6236"/>
                        <a:gd name="connsiteX7" fmla="*/ 23643 w 23697"/>
                        <a:gd name="connsiteY7" fmla="*/ 3118 h 6236"/>
                        <a:gd name="connsiteX8" fmla="*/ 23643 w 23697"/>
                        <a:gd name="connsiteY8" fmla="*/ 3118 h 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97" h="6236">
                          <a:moveTo>
                            <a:pt x="23643" y="3118"/>
                          </a:moveTo>
                          <a:cubicBezTo>
                            <a:pt x="23968" y="4807"/>
                            <a:pt x="22798" y="6236"/>
                            <a:pt x="21109" y="6236"/>
                          </a:cubicBezTo>
                          <a:lnTo>
                            <a:pt x="3758" y="6236"/>
                          </a:lnTo>
                          <a:cubicBezTo>
                            <a:pt x="2004" y="6236"/>
                            <a:pt x="379" y="4872"/>
                            <a:pt x="54" y="3118"/>
                          </a:cubicBezTo>
                          <a:lnTo>
                            <a:pt x="54" y="3118"/>
                          </a:lnTo>
                          <a:cubicBezTo>
                            <a:pt x="-271" y="1429"/>
                            <a:pt x="899" y="0"/>
                            <a:pt x="2589" y="0"/>
                          </a:cubicBezTo>
                          <a:lnTo>
                            <a:pt x="19939" y="0"/>
                          </a:lnTo>
                          <a:cubicBezTo>
                            <a:pt x="21694" y="0"/>
                            <a:pt x="23318" y="1364"/>
                            <a:pt x="23643" y="3118"/>
                          </a:cubicBezTo>
                          <a:lnTo>
                            <a:pt x="23643" y="3118"/>
                          </a:lnTo>
                          <a:close/>
                        </a:path>
                      </a:pathLst>
                    </a:custGeom>
                    <a:solidFill>
                      <a:srgbClr val="25B3E0"/>
                    </a:solidFill>
                    <a:ln w="6471" cap="flat">
                      <a:noFill/>
                      <a:prstDash val="solid"/>
                      <a:miter/>
                    </a:ln>
                  </p:spPr>
                  <p:txBody>
                    <a:bodyPr rtlCol="0" anchor="ctr"/>
                    <a:lstStyle/>
                    <a:p>
                      <a:endParaRPr lang="en-AU"/>
                    </a:p>
                  </p:txBody>
                </p:sp>
                <p:sp>
                  <p:nvSpPr>
                    <p:cNvPr id="64" name="Freeform: Shape 63">
                      <a:extLst>
                        <a:ext uri="{FF2B5EF4-FFF2-40B4-BE49-F238E27FC236}">
                          <a16:creationId xmlns:a16="http://schemas.microsoft.com/office/drawing/2014/main" id="{0EC86064-96ED-D6EA-6102-D1D27AC47BD6}"/>
                        </a:ext>
                      </a:extLst>
                    </p:cNvPr>
                    <p:cNvSpPr/>
                    <p:nvPr/>
                  </p:nvSpPr>
                  <p:spPr>
                    <a:xfrm>
                      <a:off x="3977472" y="6661422"/>
                      <a:ext cx="68091" cy="6236"/>
                    </a:xfrm>
                    <a:custGeom>
                      <a:avLst/>
                      <a:gdLst>
                        <a:gd name="connsiteX0" fmla="*/ 68026 w 68091"/>
                        <a:gd name="connsiteY0" fmla="*/ 3118 h 6236"/>
                        <a:gd name="connsiteX1" fmla="*/ 65492 w 68091"/>
                        <a:gd name="connsiteY1" fmla="*/ 6236 h 6236"/>
                        <a:gd name="connsiteX2" fmla="*/ 3758 w 68091"/>
                        <a:gd name="connsiteY2" fmla="*/ 6236 h 6236"/>
                        <a:gd name="connsiteX3" fmla="*/ 54 w 68091"/>
                        <a:gd name="connsiteY3" fmla="*/ 3118 h 6236"/>
                        <a:gd name="connsiteX4" fmla="*/ 54 w 68091"/>
                        <a:gd name="connsiteY4" fmla="*/ 3118 h 6236"/>
                        <a:gd name="connsiteX5" fmla="*/ 2589 w 68091"/>
                        <a:gd name="connsiteY5" fmla="*/ 0 h 6236"/>
                        <a:gd name="connsiteX6" fmla="*/ 64387 w 68091"/>
                        <a:gd name="connsiteY6" fmla="*/ 0 h 6236"/>
                        <a:gd name="connsiteX7" fmla="*/ 68091 w 68091"/>
                        <a:gd name="connsiteY7" fmla="*/ 3118 h 6236"/>
                        <a:gd name="connsiteX8" fmla="*/ 68091 w 68091"/>
                        <a:gd name="connsiteY8" fmla="*/ 3118 h 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091" h="6236">
                          <a:moveTo>
                            <a:pt x="68026" y="3118"/>
                          </a:moveTo>
                          <a:cubicBezTo>
                            <a:pt x="68351" y="4807"/>
                            <a:pt x="67182" y="6236"/>
                            <a:pt x="65492" y="6236"/>
                          </a:cubicBezTo>
                          <a:lnTo>
                            <a:pt x="3758" y="6236"/>
                          </a:lnTo>
                          <a:cubicBezTo>
                            <a:pt x="2004" y="6236"/>
                            <a:pt x="379" y="4807"/>
                            <a:pt x="54" y="3118"/>
                          </a:cubicBezTo>
                          <a:lnTo>
                            <a:pt x="54" y="3118"/>
                          </a:lnTo>
                          <a:cubicBezTo>
                            <a:pt x="-271" y="1429"/>
                            <a:pt x="899" y="0"/>
                            <a:pt x="2589" y="0"/>
                          </a:cubicBezTo>
                          <a:lnTo>
                            <a:pt x="64387" y="0"/>
                          </a:lnTo>
                          <a:cubicBezTo>
                            <a:pt x="66142" y="0"/>
                            <a:pt x="67766" y="1364"/>
                            <a:pt x="68091" y="3118"/>
                          </a:cubicBezTo>
                          <a:lnTo>
                            <a:pt x="68091" y="3118"/>
                          </a:lnTo>
                          <a:close/>
                        </a:path>
                      </a:pathLst>
                    </a:custGeom>
                    <a:solidFill>
                      <a:srgbClr val="FFFFFF"/>
                    </a:solidFill>
                    <a:ln w="6471" cap="flat">
                      <a:noFill/>
                      <a:prstDash val="solid"/>
                      <a:miter/>
                    </a:ln>
                  </p:spPr>
                  <p:txBody>
                    <a:bodyPr rtlCol="0" anchor="ctr"/>
                    <a:lstStyle/>
                    <a:p>
                      <a:endParaRPr lang="en-AU"/>
                    </a:p>
                  </p:txBody>
                </p:sp>
                <p:sp>
                  <p:nvSpPr>
                    <p:cNvPr id="65" name="Freeform: Shape 64">
                      <a:extLst>
                        <a:ext uri="{FF2B5EF4-FFF2-40B4-BE49-F238E27FC236}">
                          <a16:creationId xmlns:a16="http://schemas.microsoft.com/office/drawing/2014/main" id="{5B83C0B1-2DD6-C357-0732-BDB0DEF2E9F6}"/>
                        </a:ext>
                      </a:extLst>
                    </p:cNvPr>
                    <p:cNvSpPr/>
                    <p:nvPr/>
                  </p:nvSpPr>
                  <p:spPr>
                    <a:xfrm>
                      <a:off x="3978967" y="6669802"/>
                      <a:ext cx="100441" cy="6236"/>
                    </a:xfrm>
                    <a:custGeom>
                      <a:avLst/>
                      <a:gdLst>
                        <a:gd name="connsiteX0" fmla="*/ 100388 w 100441"/>
                        <a:gd name="connsiteY0" fmla="*/ 3118 h 6236"/>
                        <a:gd name="connsiteX1" fmla="*/ 97788 w 100441"/>
                        <a:gd name="connsiteY1" fmla="*/ 6236 h 6236"/>
                        <a:gd name="connsiteX2" fmla="*/ 3758 w 100441"/>
                        <a:gd name="connsiteY2" fmla="*/ 6236 h 6236"/>
                        <a:gd name="connsiteX3" fmla="*/ 54 w 100441"/>
                        <a:gd name="connsiteY3" fmla="*/ 3118 h 6236"/>
                        <a:gd name="connsiteX4" fmla="*/ 54 w 100441"/>
                        <a:gd name="connsiteY4" fmla="*/ 3118 h 6236"/>
                        <a:gd name="connsiteX5" fmla="*/ 2589 w 100441"/>
                        <a:gd name="connsiteY5" fmla="*/ 0 h 6236"/>
                        <a:gd name="connsiteX6" fmla="*/ 96619 w 100441"/>
                        <a:gd name="connsiteY6" fmla="*/ 0 h 6236"/>
                        <a:gd name="connsiteX7" fmla="*/ 100323 w 100441"/>
                        <a:gd name="connsiteY7" fmla="*/ 3118 h 6236"/>
                        <a:gd name="connsiteX8" fmla="*/ 100323 w 100441"/>
                        <a:gd name="connsiteY8" fmla="*/ 3118 h 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441" h="6236">
                          <a:moveTo>
                            <a:pt x="100388" y="3118"/>
                          </a:moveTo>
                          <a:cubicBezTo>
                            <a:pt x="100713" y="4807"/>
                            <a:pt x="99543" y="6236"/>
                            <a:pt x="97788" y="6236"/>
                          </a:cubicBezTo>
                          <a:lnTo>
                            <a:pt x="3758" y="6236"/>
                          </a:lnTo>
                          <a:cubicBezTo>
                            <a:pt x="2004" y="6236"/>
                            <a:pt x="379" y="4872"/>
                            <a:pt x="54" y="3118"/>
                          </a:cubicBezTo>
                          <a:lnTo>
                            <a:pt x="54" y="3118"/>
                          </a:lnTo>
                          <a:cubicBezTo>
                            <a:pt x="-271" y="1429"/>
                            <a:pt x="899" y="0"/>
                            <a:pt x="2589" y="0"/>
                          </a:cubicBezTo>
                          <a:lnTo>
                            <a:pt x="96619" y="0"/>
                          </a:lnTo>
                          <a:cubicBezTo>
                            <a:pt x="98373" y="0"/>
                            <a:pt x="99998" y="1364"/>
                            <a:pt x="100323" y="3118"/>
                          </a:cubicBezTo>
                          <a:lnTo>
                            <a:pt x="100323" y="3118"/>
                          </a:lnTo>
                          <a:close/>
                        </a:path>
                      </a:pathLst>
                    </a:custGeom>
                    <a:solidFill>
                      <a:srgbClr val="2C72B5"/>
                    </a:solidFill>
                    <a:ln w="6471" cap="flat">
                      <a:noFill/>
                      <a:prstDash val="solid"/>
                      <a:miter/>
                    </a:ln>
                  </p:spPr>
                  <p:txBody>
                    <a:bodyPr rtlCol="0" anchor="ctr"/>
                    <a:lstStyle/>
                    <a:p>
                      <a:endParaRPr lang="en-AU"/>
                    </a:p>
                  </p:txBody>
                </p:sp>
                <p:sp>
                  <p:nvSpPr>
                    <p:cNvPr id="66" name="Freeform: Shape 65">
                      <a:extLst>
                        <a:ext uri="{FF2B5EF4-FFF2-40B4-BE49-F238E27FC236}">
                          <a16:creationId xmlns:a16="http://schemas.microsoft.com/office/drawing/2014/main" id="{23DFD7CB-8317-E8E9-645B-131D9E4C6009}"/>
                        </a:ext>
                      </a:extLst>
                    </p:cNvPr>
                    <p:cNvSpPr/>
                    <p:nvPr/>
                  </p:nvSpPr>
                  <p:spPr>
                    <a:xfrm>
                      <a:off x="3980526" y="6678247"/>
                      <a:ext cx="124615" cy="6236"/>
                    </a:xfrm>
                    <a:custGeom>
                      <a:avLst/>
                      <a:gdLst>
                        <a:gd name="connsiteX0" fmla="*/ 124561 w 124615"/>
                        <a:gd name="connsiteY0" fmla="*/ 3118 h 6236"/>
                        <a:gd name="connsiteX1" fmla="*/ 121962 w 124615"/>
                        <a:gd name="connsiteY1" fmla="*/ 6236 h 6236"/>
                        <a:gd name="connsiteX2" fmla="*/ 3758 w 124615"/>
                        <a:gd name="connsiteY2" fmla="*/ 6236 h 6236"/>
                        <a:gd name="connsiteX3" fmla="*/ 54 w 124615"/>
                        <a:gd name="connsiteY3" fmla="*/ 3118 h 6236"/>
                        <a:gd name="connsiteX4" fmla="*/ 54 w 124615"/>
                        <a:gd name="connsiteY4" fmla="*/ 3118 h 6236"/>
                        <a:gd name="connsiteX5" fmla="*/ 2589 w 124615"/>
                        <a:gd name="connsiteY5" fmla="*/ 0 h 6236"/>
                        <a:gd name="connsiteX6" fmla="*/ 120792 w 124615"/>
                        <a:gd name="connsiteY6" fmla="*/ 0 h 6236"/>
                        <a:gd name="connsiteX7" fmla="*/ 124496 w 124615"/>
                        <a:gd name="connsiteY7" fmla="*/ 3118 h 6236"/>
                        <a:gd name="connsiteX8" fmla="*/ 124496 w 124615"/>
                        <a:gd name="connsiteY8" fmla="*/ 3118 h 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615" h="6236">
                          <a:moveTo>
                            <a:pt x="124561" y="3118"/>
                          </a:moveTo>
                          <a:cubicBezTo>
                            <a:pt x="124886" y="4807"/>
                            <a:pt x="123717" y="6236"/>
                            <a:pt x="121962" y="6236"/>
                          </a:cubicBezTo>
                          <a:lnTo>
                            <a:pt x="3758" y="6236"/>
                          </a:lnTo>
                          <a:cubicBezTo>
                            <a:pt x="2004" y="6236"/>
                            <a:pt x="379" y="4872"/>
                            <a:pt x="54" y="3118"/>
                          </a:cubicBezTo>
                          <a:lnTo>
                            <a:pt x="54" y="3118"/>
                          </a:lnTo>
                          <a:cubicBezTo>
                            <a:pt x="-271" y="1429"/>
                            <a:pt x="899" y="0"/>
                            <a:pt x="2589" y="0"/>
                          </a:cubicBezTo>
                          <a:lnTo>
                            <a:pt x="120792" y="0"/>
                          </a:lnTo>
                          <a:cubicBezTo>
                            <a:pt x="122547" y="0"/>
                            <a:pt x="124171" y="1364"/>
                            <a:pt x="124496" y="3118"/>
                          </a:cubicBezTo>
                          <a:lnTo>
                            <a:pt x="124496" y="3118"/>
                          </a:lnTo>
                          <a:close/>
                        </a:path>
                      </a:pathLst>
                    </a:custGeom>
                    <a:solidFill>
                      <a:srgbClr val="C7C9C9"/>
                    </a:solidFill>
                    <a:ln w="6471" cap="flat">
                      <a:noFill/>
                      <a:prstDash val="solid"/>
                      <a:miter/>
                    </a:ln>
                  </p:spPr>
                  <p:txBody>
                    <a:bodyPr rtlCol="0" anchor="ctr"/>
                    <a:lstStyle/>
                    <a:p>
                      <a:endParaRPr lang="en-AU"/>
                    </a:p>
                  </p:txBody>
                </p:sp>
                <p:sp>
                  <p:nvSpPr>
                    <p:cNvPr id="67" name="Freeform: Shape 66">
                      <a:extLst>
                        <a:ext uri="{FF2B5EF4-FFF2-40B4-BE49-F238E27FC236}">
                          <a16:creationId xmlns:a16="http://schemas.microsoft.com/office/drawing/2014/main" id="{2929E06A-621A-C420-0844-9DD8D3F1C2D4}"/>
                        </a:ext>
                      </a:extLst>
                    </p:cNvPr>
                    <p:cNvSpPr/>
                    <p:nvPr/>
                  </p:nvSpPr>
                  <p:spPr>
                    <a:xfrm>
                      <a:off x="3968310" y="6686692"/>
                      <a:ext cx="43842" cy="6236"/>
                    </a:xfrm>
                    <a:custGeom>
                      <a:avLst/>
                      <a:gdLst>
                        <a:gd name="connsiteX0" fmla="*/ 43788 w 43842"/>
                        <a:gd name="connsiteY0" fmla="*/ 3118 h 6236"/>
                        <a:gd name="connsiteX1" fmla="*/ 41253 w 43842"/>
                        <a:gd name="connsiteY1" fmla="*/ 6236 h 6236"/>
                        <a:gd name="connsiteX2" fmla="*/ 3758 w 43842"/>
                        <a:gd name="connsiteY2" fmla="*/ 6236 h 6236"/>
                        <a:gd name="connsiteX3" fmla="*/ 54 w 43842"/>
                        <a:gd name="connsiteY3" fmla="*/ 3118 h 6236"/>
                        <a:gd name="connsiteX4" fmla="*/ 54 w 43842"/>
                        <a:gd name="connsiteY4" fmla="*/ 3118 h 6236"/>
                        <a:gd name="connsiteX5" fmla="*/ 2589 w 43842"/>
                        <a:gd name="connsiteY5" fmla="*/ 0 h 6236"/>
                        <a:gd name="connsiteX6" fmla="*/ 40084 w 43842"/>
                        <a:gd name="connsiteY6" fmla="*/ 0 h 6236"/>
                        <a:gd name="connsiteX7" fmla="*/ 43788 w 43842"/>
                        <a:gd name="connsiteY7" fmla="*/ 3118 h 6236"/>
                        <a:gd name="connsiteX8" fmla="*/ 43788 w 43842"/>
                        <a:gd name="connsiteY8" fmla="*/ 3118 h 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842" h="6236">
                          <a:moveTo>
                            <a:pt x="43788" y="3118"/>
                          </a:moveTo>
                          <a:cubicBezTo>
                            <a:pt x="44113" y="4872"/>
                            <a:pt x="42943" y="6236"/>
                            <a:pt x="41253" y="6236"/>
                          </a:cubicBezTo>
                          <a:lnTo>
                            <a:pt x="3758" y="6236"/>
                          </a:lnTo>
                          <a:cubicBezTo>
                            <a:pt x="2004" y="6236"/>
                            <a:pt x="379" y="4872"/>
                            <a:pt x="54" y="3118"/>
                          </a:cubicBezTo>
                          <a:lnTo>
                            <a:pt x="54" y="3118"/>
                          </a:lnTo>
                          <a:cubicBezTo>
                            <a:pt x="-271" y="1429"/>
                            <a:pt x="899" y="0"/>
                            <a:pt x="2589" y="0"/>
                          </a:cubicBezTo>
                          <a:lnTo>
                            <a:pt x="40084" y="0"/>
                          </a:lnTo>
                          <a:cubicBezTo>
                            <a:pt x="41838" y="0"/>
                            <a:pt x="43463" y="1364"/>
                            <a:pt x="43788" y="3118"/>
                          </a:cubicBezTo>
                          <a:lnTo>
                            <a:pt x="43788" y="3118"/>
                          </a:lnTo>
                          <a:close/>
                        </a:path>
                      </a:pathLst>
                    </a:custGeom>
                    <a:solidFill>
                      <a:srgbClr val="25B3E0"/>
                    </a:solidFill>
                    <a:ln w="6471" cap="flat">
                      <a:noFill/>
                      <a:prstDash val="solid"/>
                      <a:miter/>
                    </a:ln>
                  </p:spPr>
                  <p:txBody>
                    <a:bodyPr rtlCol="0" anchor="ctr"/>
                    <a:lstStyle/>
                    <a:p>
                      <a:endParaRPr lang="en-AU"/>
                    </a:p>
                  </p:txBody>
                </p:sp>
                <p:grpSp>
                  <p:nvGrpSpPr>
                    <p:cNvPr id="68" name="Graphic 72">
                      <a:extLst>
                        <a:ext uri="{FF2B5EF4-FFF2-40B4-BE49-F238E27FC236}">
                          <a16:creationId xmlns:a16="http://schemas.microsoft.com/office/drawing/2014/main" id="{6DED6756-A083-BC3F-AC15-5F077D775B83}"/>
                        </a:ext>
                      </a:extLst>
                    </p:cNvPr>
                    <p:cNvGrpSpPr/>
                    <p:nvPr/>
                  </p:nvGrpSpPr>
                  <p:grpSpPr>
                    <a:xfrm>
                      <a:off x="3983646" y="6695137"/>
                      <a:ext cx="48975" cy="6236"/>
                      <a:chOff x="3983646" y="6695137"/>
                      <a:chExt cx="48975" cy="6236"/>
                    </a:xfrm>
                  </p:grpSpPr>
                  <p:sp>
                    <p:nvSpPr>
                      <p:cNvPr id="79" name="Freeform: Shape 78">
                        <a:extLst>
                          <a:ext uri="{FF2B5EF4-FFF2-40B4-BE49-F238E27FC236}">
                            <a16:creationId xmlns:a16="http://schemas.microsoft.com/office/drawing/2014/main" id="{AB188A80-767A-308B-A242-F3B77C349712}"/>
                          </a:ext>
                        </a:extLst>
                      </p:cNvPr>
                      <p:cNvSpPr/>
                      <p:nvPr/>
                    </p:nvSpPr>
                    <p:spPr>
                      <a:xfrm>
                        <a:off x="3983646" y="6695137"/>
                        <a:ext cx="23697" cy="6236"/>
                      </a:xfrm>
                      <a:custGeom>
                        <a:avLst/>
                        <a:gdLst>
                          <a:gd name="connsiteX0" fmla="*/ 23643 w 23697"/>
                          <a:gd name="connsiteY0" fmla="*/ 3118 h 6236"/>
                          <a:gd name="connsiteX1" fmla="*/ 21109 w 23697"/>
                          <a:gd name="connsiteY1" fmla="*/ 6236 h 6236"/>
                          <a:gd name="connsiteX2" fmla="*/ 3758 w 23697"/>
                          <a:gd name="connsiteY2" fmla="*/ 6236 h 6236"/>
                          <a:gd name="connsiteX3" fmla="*/ 54 w 23697"/>
                          <a:gd name="connsiteY3" fmla="*/ 3118 h 6236"/>
                          <a:gd name="connsiteX4" fmla="*/ 54 w 23697"/>
                          <a:gd name="connsiteY4" fmla="*/ 3118 h 6236"/>
                          <a:gd name="connsiteX5" fmla="*/ 2589 w 23697"/>
                          <a:gd name="connsiteY5" fmla="*/ 0 h 6236"/>
                          <a:gd name="connsiteX6" fmla="*/ 19939 w 23697"/>
                          <a:gd name="connsiteY6" fmla="*/ 0 h 6236"/>
                          <a:gd name="connsiteX7" fmla="*/ 23643 w 23697"/>
                          <a:gd name="connsiteY7" fmla="*/ 3118 h 6236"/>
                          <a:gd name="connsiteX8" fmla="*/ 23643 w 23697"/>
                          <a:gd name="connsiteY8" fmla="*/ 3118 h 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97" h="6236">
                            <a:moveTo>
                              <a:pt x="23643" y="3118"/>
                            </a:moveTo>
                            <a:cubicBezTo>
                              <a:pt x="23968" y="4807"/>
                              <a:pt x="22798" y="6236"/>
                              <a:pt x="21109" y="6236"/>
                            </a:cubicBezTo>
                            <a:lnTo>
                              <a:pt x="3758" y="6236"/>
                            </a:lnTo>
                            <a:cubicBezTo>
                              <a:pt x="2004" y="6236"/>
                              <a:pt x="379" y="4872"/>
                              <a:pt x="54" y="3118"/>
                            </a:cubicBezTo>
                            <a:lnTo>
                              <a:pt x="54" y="3118"/>
                            </a:lnTo>
                            <a:cubicBezTo>
                              <a:pt x="-271" y="1429"/>
                              <a:pt x="899" y="0"/>
                              <a:pt x="2589" y="0"/>
                            </a:cubicBezTo>
                            <a:lnTo>
                              <a:pt x="19939" y="0"/>
                            </a:lnTo>
                            <a:cubicBezTo>
                              <a:pt x="21629" y="0"/>
                              <a:pt x="23318" y="1364"/>
                              <a:pt x="23643" y="3118"/>
                            </a:cubicBezTo>
                            <a:lnTo>
                              <a:pt x="23643" y="3118"/>
                            </a:lnTo>
                            <a:close/>
                          </a:path>
                        </a:pathLst>
                      </a:custGeom>
                      <a:solidFill>
                        <a:srgbClr val="C7C9C9"/>
                      </a:solidFill>
                      <a:ln w="6471" cap="flat">
                        <a:noFill/>
                        <a:prstDash val="solid"/>
                        <a:miter/>
                      </a:ln>
                    </p:spPr>
                    <p:txBody>
                      <a:bodyPr rtlCol="0" anchor="ctr"/>
                      <a:lstStyle/>
                      <a:p>
                        <a:endParaRPr lang="en-AU"/>
                      </a:p>
                    </p:txBody>
                  </p:sp>
                  <p:sp>
                    <p:nvSpPr>
                      <p:cNvPr id="80" name="Freeform: Shape 79">
                        <a:extLst>
                          <a:ext uri="{FF2B5EF4-FFF2-40B4-BE49-F238E27FC236}">
                            <a16:creationId xmlns:a16="http://schemas.microsoft.com/office/drawing/2014/main" id="{84CABDDD-8F11-53BD-D3E8-13DE72D62A1C}"/>
                          </a:ext>
                        </a:extLst>
                      </p:cNvPr>
                      <p:cNvSpPr/>
                      <p:nvPr/>
                    </p:nvSpPr>
                    <p:spPr>
                      <a:xfrm>
                        <a:off x="4008924" y="6695137"/>
                        <a:ext cx="23697" cy="6236"/>
                      </a:xfrm>
                      <a:custGeom>
                        <a:avLst/>
                        <a:gdLst>
                          <a:gd name="connsiteX0" fmla="*/ 23643 w 23697"/>
                          <a:gd name="connsiteY0" fmla="*/ 3118 h 6236"/>
                          <a:gd name="connsiteX1" fmla="*/ 21109 w 23697"/>
                          <a:gd name="connsiteY1" fmla="*/ 6236 h 6236"/>
                          <a:gd name="connsiteX2" fmla="*/ 3758 w 23697"/>
                          <a:gd name="connsiteY2" fmla="*/ 6236 h 6236"/>
                          <a:gd name="connsiteX3" fmla="*/ 54 w 23697"/>
                          <a:gd name="connsiteY3" fmla="*/ 3118 h 6236"/>
                          <a:gd name="connsiteX4" fmla="*/ 54 w 23697"/>
                          <a:gd name="connsiteY4" fmla="*/ 3118 h 6236"/>
                          <a:gd name="connsiteX5" fmla="*/ 2589 w 23697"/>
                          <a:gd name="connsiteY5" fmla="*/ 0 h 6236"/>
                          <a:gd name="connsiteX6" fmla="*/ 19939 w 23697"/>
                          <a:gd name="connsiteY6" fmla="*/ 0 h 6236"/>
                          <a:gd name="connsiteX7" fmla="*/ 23643 w 23697"/>
                          <a:gd name="connsiteY7" fmla="*/ 3118 h 6236"/>
                          <a:gd name="connsiteX8" fmla="*/ 23643 w 23697"/>
                          <a:gd name="connsiteY8" fmla="*/ 3118 h 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97" h="6236">
                            <a:moveTo>
                              <a:pt x="23643" y="3118"/>
                            </a:moveTo>
                            <a:cubicBezTo>
                              <a:pt x="23968" y="4807"/>
                              <a:pt x="22798" y="6236"/>
                              <a:pt x="21109" y="6236"/>
                            </a:cubicBezTo>
                            <a:lnTo>
                              <a:pt x="3758" y="6236"/>
                            </a:lnTo>
                            <a:cubicBezTo>
                              <a:pt x="2004" y="6236"/>
                              <a:pt x="379" y="4872"/>
                              <a:pt x="54" y="3118"/>
                            </a:cubicBezTo>
                            <a:lnTo>
                              <a:pt x="54" y="3118"/>
                            </a:lnTo>
                            <a:cubicBezTo>
                              <a:pt x="-271" y="1429"/>
                              <a:pt x="899" y="0"/>
                              <a:pt x="2589" y="0"/>
                            </a:cubicBezTo>
                            <a:lnTo>
                              <a:pt x="19939" y="0"/>
                            </a:lnTo>
                            <a:cubicBezTo>
                              <a:pt x="21694" y="0"/>
                              <a:pt x="23318" y="1364"/>
                              <a:pt x="23643" y="3118"/>
                            </a:cubicBezTo>
                            <a:lnTo>
                              <a:pt x="23643" y="3118"/>
                            </a:lnTo>
                            <a:close/>
                          </a:path>
                        </a:pathLst>
                      </a:custGeom>
                      <a:solidFill>
                        <a:srgbClr val="FFFFFF"/>
                      </a:solidFill>
                      <a:ln w="6471" cap="flat">
                        <a:noFill/>
                        <a:prstDash val="solid"/>
                        <a:miter/>
                      </a:ln>
                    </p:spPr>
                    <p:txBody>
                      <a:bodyPr rtlCol="0" anchor="ctr"/>
                      <a:lstStyle/>
                      <a:p>
                        <a:endParaRPr lang="en-AU"/>
                      </a:p>
                    </p:txBody>
                  </p:sp>
                </p:grpSp>
                <p:sp>
                  <p:nvSpPr>
                    <p:cNvPr id="69" name="Freeform: Shape 68">
                      <a:extLst>
                        <a:ext uri="{FF2B5EF4-FFF2-40B4-BE49-F238E27FC236}">
                          <a16:creationId xmlns:a16="http://schemas.microsoft.com/office/drawing/2014/main" id="{779A4A17-B724-025C-2A17-CFC0C8E0885F}"/>
                        </a:ext>
                      </a:extLst>
                    </p:cNvPr>
                    <p:cNvSpPr/>
                    <p:nvPr/>
                  </p:nvSpPr>
                  <p:spPr>
                    <a:xfrm>
                      <a:off x="3985205" y="6703582"/>
                      <a:ext cx="39813" cy="6236"/>
                    </a:xfrm>
                    <a:custGeom>
                      <a:avLst/>
                      <a:gdLst>
                        <a:gd name="connsiteX0" fmla="*/ 39759 w 39813"/>
                        <a:gd name="connsiteY0" fmla="*/ 3118 h 6236"/>
                        <a:gd name="connsiteX1" fmla="*/ 37224 w 39813"/>
                        <a:gd name="connsiteY1" fmla="*/ 6236 h 6236"/>
                        <a:gd name="connsiteX2" fmla="*/ 3758 w 39813"/>
                        <a:gd name="connsiteY2" fmla="*/ 6236 h 6236"/>
                        <a:gd name="connsiteX3" fmla="*/ 54 w 39813"/>
                        <a:gd name="connsiteY3" fmla="*/ 3118 h 6236"/>
                        <a:gd name="connsiteX4" fmla="*/ 54 w 39813"/>
                        <a:gd name="connsiteY4" fmla="*/ 3118 h 6236"/>
                        <a:gd name="connsiteX5" fmla="*/ 2589 w 39813"/>
                        <a:gd name="connsiteY5" fmla="*/ 0 h 6236"/>
                        <a:gd name="connsiteX6" fmla="*/ 36055 w 39813"/>
                        <a:gd name="connsiteY6" fmla="*/ 0 h 6236"/>
                        <a:gd name="connsiteX7" fmla="*/ 39759 w 39813"/>
                        <a:gd name="connsiteY7" fmla="*/ 3118 h 6236"/>
                        <a:gd name="connsiteX8" fmla="*/ 39759 w 39813"/>
                        <a:gd name="connsiteY8" fmla="*/ 3118 h 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813" h="6236">
                          <a:moveTo>
                            <a:pt x="39759" y="3118"/>
                          </a:moveTo>
                          <a:cubicBezTo>
                            <a:pt x="40084" y="4807"/>
                            <a:pt x="38914" y="6236"/>
                            <a:pt x="37224" y="6236"/>
                          </a:cubicBezTo>
                          <a:lnTo>
                            <a:pt x="3758" y="6236"/>
                          </a:lnTo>
                          <a:cubicBezTo>
                            <a:pt x="2004" y="6236"/>
                            <a:pt x="379" y="4872"/>
                            <a:pt x="54" y="3118"/>
                          </a:cubicBezTo>
                          <a:lnTo>
                            <a:pt x="54" y="3118"/>
                          </a:lnTo>
                          <a:cubicBezTo>
                            <a:pt x="-271" y="1429"/>
                            <a:pt x="899" y="0"/>
                            <a:pt x="2589" y="0"/>
                          </a:cubicBezTo>
                          <a:lnTo>
                            <a:pt x="36055" y="0"/>
                          </a:lnTo>
                          <a:cubicBezTo>
                            <a:pt x="37809" y="0"/>
                            <a:pt x="39434" y="1364"/>
                            <a:pt x="39759" y="3118"/>
                          </a:cubicBezTo>
                          <a:lnTo>
                            <a:pt x="39759" y="3118"/>
                          </a:lnTo>
                          <a:close/>
                        </a:path>
                      </a:pathLst>
                    </a:custGeom>
                    <a:solidFill>
                      <a:srgbClr val="2C72B5"/>
                    </a:solidFill>
                    <a:ln w="6471" cap="flat">
                      <a:noFill/>
                      <a:prstDash val="solid"/>
                      <a:miter/>
                    </a:ln>
                  </p:spPr>
                  <p:txBody>
                    <a:bodyPr rtlCol="0" anchor="ctr"/>
                    <a:lstStyle/>
                    <a:p>
                      <a:endParaRPr lang="en-AU"/>
                    </a:p>
                  </p:txBody>
                </p:sp>
                <p:sp>
                  <p:nvSpPr>
                    <p:cNvPr id="70" name="Freeform: Shape 69">
                      <a:extLst>
                        <a:ext uri="{FF2B5EF4-FFF2-40B4-BE49-F238E27FC236}">
                          <a16:creationId xmlns:a16="http://schemas.microsoft.com/office/drawing/2014/main" id="{280F745A-2E35-2A6C-6D0E-F45AE239863C}"/>
                        </a:ext>
                      </a:extLst>
                    </p:cNvPr>
                    <p:cNvSpPr/>
                    <p:nvPr/>
                  </p:nvSpPr>
                  <p:spPr>
                    <a:xfrm>
                      <a:off x="3986830" y="6712027"/>
                      <a:ext cx="55874" cy="6236"/>
                    </a:xfrm>
                    <a:custGeom>
                      <a:avLst/>
                      <a:gdLst>
                        <a:gd name="connsiteX0" fmla="*/ 55810 w 55874"/>
                        <a:gd name="connsiteY0" fmla="*/ 3118 h 6236"/>
                        <a:gd name="connsiteX1" fmla="*/ 53275 w 55874"/>
                        <a:gd name="connsiteY1" fmla="*/ 6236 h 6236"/>
                        <a:gd name="connsiteX2" fmla="*/ 3758 w 55874"/>
                        <a:gd name="connsiteY2" fmla="*/ 6236 h 6236"/>
                        <a:gd name="connsiteX3" fmla="*/ 54 w 55874"/>
                        <a:gd name="connsiteY3" fmla="*/ 3118 h 6236"/>
                        <a:gd name="connsiteX4" fmla="*/ 54 w 55874"/>
                        <a:gd name="connsiteY4" fmla="*/ 3118 h 6236"/>
                        <a:gd name="connsiteX5" fmla="*/ 2589 w 55874"/>
                        <a:gd name="connsiteY5" fmla="*/ 0 h 6236"/>
                        <a:gd name="connsiteX6" fmla="*/ 52171 w 55874"/>
                        <a:gd name="connsiteY6" fmla="*/ 0 h 6236"/>
                        <a:gd name="connsiteX7" fmla="*/ 55875 w 55874"/>
                        <a:gd name="connsiteY7" fmla="*/ 3118 h 6236"/>
                        <a:gd name="connsiteX8" fmla="*/ 55875 w 55874"/>
                        <a:gd name="connsiteY8" fmla="*/ 3118 h 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874" h="6236">
                          <a:moveTo>
                            <a:pt x="55810" y="3118"/>
                          </a:moveTo>
                          <a:cubicBezTo>
                            <a:pt x="56134" y="4807"/>
                            <a:pt x="54965" y="6236"/>
                            <a:pt x="53275" y="6236"/>
                          </a:cubicBezTo>
                          <a:lnTo>
                            <a:pt x="3758" y="6236"/>
                          </a:lnTo>
                          <a:cubicBezTo>
                            <a:pt x="2004" y="6236"/>
                            <a:pt x="379" y="4872"/>
                            <a:pt x="54" y="3118"/>
                          </a:cubicBezTo>
                          <a:lnTo>
                            <a:pt x="54" y="3118"/>
                          </a:lnTo>
                          <a:cubicBezTo>
                            <a:pt x="-271" y="1429"/>
                            <a:pt x="899" y="0"/>
                            <a:pt x="2589" y="0"/>
                          </a:cubicBezTo>
                          <a:lnTo>
                            <a:pt x="52171" y="0"/>
                          </a:lnTo>
                          <a:cubicBezTo>
                            <a:pt x="53925" y="0"/>
                            <a:pt x="55550" y="1364"/>
                            <a:pt x="55875" y="3118"/>
                          </a:cubicBezTo>
                          <a:lnTo>
                            <a:pt x="55875" y="3118"/>
                          </a:lnTo>
                          <a:close/>
                        </a:path>
                      </a:pathLst>
                    </a:custGeom>
                    <a:solidFill>
                      <a:srgbClr val="FFFFFF"/>
                    </a:solidFill>
                    <a:ln w="6471" cap="flat">
                      <a:noFill/>
                      <a:prstDash val="solid"/>
                      <a:miter/>
                    </a:ln>
                  </p:spPr>
                  <p:txBody>
                    <a:bodyPr rtlCol="0" anchor="ctr"/>
                    <a:lstStyle/>
                    <a:p>
                      <a:endParaRPr lang="en-AU"/>
                    </a:p>
                  </p:txBody>
                </p:sp>
                <p:sp>
                  <p:nvSpPr>
                    <p:cNvPr id="71" name="Freeform: Shape 70">
                      <a:extLst>
                        <a:ext uri="{FF2B5EF4-FFF2-40B4-BE49-F238E27FC236}">
                          <a16:creationId xmlns:a16="http://schemas.microsoft.com/office/drawing/2014/main" id="{6C4299D6-FABB-A2D1-0037-494B49307508}"/>
                        </a:ext>
                      </a:extLst>
                    </p:cNvPr>
                    <p:cNvSpPr/>
                    <p:nvPr/>
                  </p:nvSpPr>
                  <p:spPr>
                    <a:xfrm>
                      <a:off x="3988389" y="6720407"/>
                      <a:ext cx="23632" cy="6236"/>
                    </a:xfrm>
                    <a:custGeom>
                      <a:avLst/>
                      <a:gdLst>
                        <a:gd name="connsiteX0" fmla="*/ 23578 w 23632"/>
                        <a:gd name="connsiteY0" fmla="*/ 3118 h 6236"/>
                        <a:gd name="connsiteX1" fmla="*/ 21044 w 23632"/>
                        <a:gd name="connsiteY1" fmla="*/ 6236 h 6236"/>
                        <a:gd name="connsiteX2" fmla="*/ 3758 w 23632"/>
                        <a:gd name="connsiteY2" fmla="*/ 6236 h 6236"/>
                        <a:gd name="connsiteX3" fmla="*/ 54 w 23632"/>
                        <a:gd name="connsiteY3" fmla="*/ 3118 h 6236"/>
                        <a:gd name="connsiteX4" fmla="*/ 54 w 23632"/>
                        <a:gd name="connsiteY4" fmla="*/ 3118 h 6236"/>
                        <a:gd name="connsiteX5" fmla="*/ 2589 w 23632"/>
                        <a:gd name="connsiteY5" fmla="*/ 0 h 6236"/>
                        <a:gd name="connsiteX6" fmla="*/ 19874 w 23632"/>
                        <a:gd name="connsiteY6" fmla="*/ 0 h 6236"/>
                        <a:gd name="connsiteX7" fmla="*/ 23578 w 23632"/>
                        <a:gd name="connsiteY7" fmla="*/ 3118 h 6236"/>
                        <a:gd name="connsiteX8" fmla="*/ 23578 w 23632"/>
                        <a:gd name="connsiteY8" fmla="*/ 3118 h 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2" h="6236">
                          <a:moveTo>
                            <a:pt x="23578" y="3118"/>
                          </a:moveTo>
                          <a:cubicBezTo>
                            <a:pt x="23903" y="4807"/>
                            <a:pt x="22733" y="6236"/>
                            <a:pt x="21044" y="6236"/>
                          </a:cubicBezTo>
                          <a:lnTo>
                            <a:pt x="3758" y="6236"/>
                          </a:lnTo>
                          <a:cubicBezTo>
                            <a:pt x="2004" y="6236"/>
                            <a:pt x="379" y="4872"/>
                            <a:pt x="54" y="3118"/>
                          </a:cubicBezTo>
                          <a:lnTo>
                            <a:pt x="54" y="3118"/>
                          </a:lnTo>
                          <a:cubicBezTo>
                            <a:pt x="-271" y="1429"/>
                            <a:pt x="899" y="0"/>
                            <a:pt x="2589" y="0"/>
                          </a:cubicBezTo>
                          <a:lnTo>
                            <a:pt x="19874" y="0"/>
                          </a:lnTo>
                          <a:cubicBezTo>
                            <a:pt x="21629" y="0"/>
                            <a:pt x="23253" y="1364"/>
                            <a:pt x="23578" y="3118"/>
                          </a:cubicBezTo>
                          <a:lnTo>
                            <a:pt x="23578" y="3118"/>
                          </a:lnTo>
                          <a:close/>
                        </a:path>
                      </a:pathLst>
                    </a:custGeom>
                    <a:solidFill>
                      <a:srgbClr val="C7C9C9"/>
                    </a:solidFill>
                    <a:ln w="6471" cap="flat">
                      <a:noFill/>
                      <a:prstDash val="solid"/>
                      <a:miter/>
                    </a:ln>
                  </p:spPr>
                  <p:txBody>
                    <a:bodyPr rtlCol="0" anchor="ctr"/>
                    <a:lstStyle/>
                    <a:p>
                      <a:endParaRPr lang="en-AU"/>
                    </a:p>
                  </p:txBody>
                </p:sp>
                <p:grpSp>
                  <p:nvGrpSpPr>
                    <p:cNvPr id="72" name="Graphic 72">
                      <a:extLst>
                        <a:ext uri="{FF2B5EF4-FFF2-40B4-BE49-F238E27FC236}">
                          <a16:creationId xmlns:a16="http://schemas.microsoft.com/office/drawing/2014/main" id="{469CB4D6-2513-C786-9266-D00FD3235622}"/>
                        </a:ext>
                      </a:extLst>
                    </p:cNvPr>
                    <p:cNvGrpSpPr/>
                    <p:nvPr/>
                  </p:nvGrpSpPr>
                  <p:grpSpPr>
                    <a:xfrm>
                      <a:off x="3989884" y="6728851"/>
                      <a:ext cx="132478" cy="6236"/>
                      <a:chOff x="3989884" y="6728851"/>
                      <a:chExt cx="132478" cy="6236"/>
                    </a:xfrm>
                  </p:grpSpPr>
                  <p:sp>
                    <p:nvSpPr>
                      <p:cNvPr id="76" name="Freeform: Shape 75">
                        <a:extLst>
                          <a:ext uri="{FF2B5EF4-FFF2-40B4-BE49-F238E27FC236}">
                            <a16:creationId xmlns:a16="http://schemas.microsoft.com/office/drawing/2014/main" id="{BC0C6F8B-F7CE-8901-D3D0-5DEFAE13AC26}"/>
                          </a:ext>
                        </a:extLst>
                      </p:cNvPr>
                      <p:cNvSpPr/>
                      <p:nvPr/>
                    </p:nvSpPr>
                    <p:spPr>
                      <a:xfrm>
                        <a:off x="3989884" y="6728851"/>
                        <a:ext cx="23632" cy="6236"/>
                      </a:xfrm>
                      <a:custGeom>
                        <a:avLst/>
                        <a:gdLst>
                          <a:gd name="connsiteX0" fmla="*/ 23578 w 23632"/>
                          <a:gd name="connsiteY0" fmla="*/ 3118 h 6236"/>
                          <a:gd name="connsiteX1" fmla="*/ 21044 w 23632"/>
                          <a:gd name="connsiteY1" fmla="*/ 6236 h 6236"/>
                          <a:gd name="connsiteX2" fmla="*/ 3758 w 23632"/>
                          <a:gd name="connsiteY2" fmla="*/ 6236 h 6236"/>
                          <a:gd name="connsiteX3" fmla="*/ 54 w 23632"/>
                          <a:gd name="connsiteY3" fmla="*/ 3118 h 6236"/>
                          <a:gd name="connsiteX4" fmla="*/ 54 w 23632"/>
                          <a:gd name="connsiteY4" fmla="*/ 3118 h 6236"/>
                          <a:gd name="connsiteX5" fmla="*/ 2589 w 23632"/>
                          <a:gd name="connsiteY5" fmla="*/ 0 h 6236"/>
                          <a:gd name="connsiteX6" fmla="*/ 19874 w 23632"/>
                          <a:gd name="connsiteY6" fmla="*/ 0 h 6236"/>
                          <a:gd name="connsiteX7" fmla="*/ 23578 w 23632"/>
                          <a:gd name="connsiteY7" fmla="*/ 3118 h 6236"/>
                          <a:gd name="connsiteX8" fmla="*/ 23578 w 23632"/>
                          <a:gd name="connsiteY8" fmla="*/ 3118 h 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2" h="6236">
                            <a:moveTo>
                              <a:pt x="23578" y="3118"/>
                            </a:moveTo>
                            <a:cubicBezTo>
                              <a:pt x="23903" y="4807"/>
                              <a:pt x="22733" y="6236"/>
                              <a:pt x="21044" y="6236"/>
                            </a:cubicBezTo>
                            <a:lnTo>
                              <a:pt x="3758" y="6236"/>
                            </a:lnTo>
                            <a:cubicBezTo>
                              <a:pt x="2004" y="6236"/>
                              <a:pt x="379" y="4872"/>
                              <a:pt x="54" y="3118"/>
                            </a:cubicBezTo>
                            <a:lnTo>
                              <a:pt x="54" y="3118"/>
                            </a:lnTo>
                            <a:cubicBezTo>
                              <a:pt x="-271" y="1429"/>
                              <a:pt x="899" y="0"/>
                              <a:pt x="2589" y="0"/>
                            </a:cubicBezTo>
                            <a:lnTo>
                              <a:pt x="19874" y="0"/>
                            </a:lnTo>
                            <a:cubicBezTo>
                              <a:pt x="21629" y="0"/>
                              <a:pt x="23253" y="1364"/>
                              <a:pt x="23578" y="3118"/>
                            </a:cubicBezTo>
                            <a:lnTo>
                              <a:pt x="23578" y="3118"/>
                            </a:lnTo>
                            <a:close/>
                          </a:path>
                        </a:pathLst>
                      </a:custGeom>
                      <a:solidFill>
                        <a:srgbClr val="25B3E0"/>
                      </a:solidFill>
                      <a:ln w="6471" cap="flat">
                        <a:noFill/>
                        <a:prstDash val="solid"/>
                        <a:miter/>
                      </a:ln>
                    </p:spPr>
                    <p:txBody>
                      <a:bodyPr rtlCol="0" anchor="ctr"/>
                      <a:lstStyle/>
                      <a:p>
                        <a:endParaRPr lang="en-AU"/>
                      </a:p>
                    </p:txBody>
                  </p:sp>
                  <p:sp>
                    <p:nvSpPr>
                      <p:cNvPr id="77" name="Freeform: Shape 76">
                        <a:extLst>
                          <a:ext uri="{FF2B5EF4-FFF2-40B4-BE49-F238E27FC236}">
                            <a16:creationId xmlns:a16="http://schemas.microsoft.com/office/drawing/2014/main" id="{43D43BC4-E35F-E28C-1005-88E458E3DBCA}"/>
                          </a:ext>
                        </a:extLst>
                      </p:cNvPr>
                      <p:cNvSpPr/>
                      <p:nvPr/>
                    </p:nvSpPr>
                    <p:spPr>
                      <a:xfrm>
                        <a:off x="4015097" y="6728851"/>
                        <a:ext cx="78022" cy="6236"/>
                      </a:xfrm>
                      <a:custGeom>
                        <a:avLst/>
                        <a:gdLst>
                          <a:gd name="connsiteX0" fmla="*/ 77969 w 78022"/>
                          <a:gd name="connsiteY0" fmla="*/ 3118 h 6236"/>
                          <a:gd name="connsiteX1" fmla="*/ 75434 w 78022"/>
                          <a:gd name="connsiteY1" fmla="*/ 6236 h 6236"/>
                          <a:gd name="connsiteX2" fmla="*/ 3758 w 78022"/>
                          <a:gd name="connsiteY2" fmla="*/ 6236 h 6236"/>
                          <a:gd name="connsiteX3" fmla="*/ 54 w 78022"/>
                          <a:gd name="connsiteY3" fmla="*/ 3118 h 6236"/>
                          <a:gd name="connsiteX4" fmla="*/ 54 w 78022"/>
                          <a:gd name="connsiteY4" fmla="*/ 3118 h 6236"/>
                          <a:gd name="connsiteX5" fmla="*/ 2589 w 78022"/>
                          <a:gd name="connsiteY5" fmla="*/ 0 h 6236"/>
                          <a:gd name="connsiteX6" fmla="*/ 74265 w 78022"/>
                          <a:gd name="connsiteY6" fmla="*/ 0 h 6236"/>
                          <a:gd name="connsiteX7" fmla="*/ 77969 w 78022"/>
                          <a:gd name="connsiteY7" fmla="*/ 3118 h 6236"/>
                          <a:gd name="connsiteX8" fmla="*/ 77969 w 78022"/>
                          <a:gd name="connsiteY8" fmla="*/ 3118 h 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022" h="6236">
                            <a:moveTo>
                              <a:pt x="77969" y="3118"/>
                            </a:moveTo>
                            <a:cubicBezTo>
                              <a:pt x="78294" y="4807"/>
                              <a:pt x="77124" y="6236"/>
                              <a:pt x="75434" y="6236"/>
                            </a:cubicBezTo>
                            <a:lnTo>
                              <a:pt x="3758" y="6236"/>
                            </a:lnTo>
                            <a:cubicBezTo>
                              <a:pt x="2069" y="6236"/>
                              <a:pt x="379" y="4872"/>
                              <a:pt x="54" y="3118"/>
                            </a:cubicBezTo>
                            <a:lnTo>
                              <a:pt x="54" y="3118"/>
                            </a:lnTo>
                            <a:cubicBezTo>
                              <a:pt x="-271" y="1429"/>
                              <a:pt x="899" y="0"/>
                              <a:pt x="2589" y="0"/>
                            </a:cubicBezTo>
                            <a:lnTo>
                              <a:pt x="74265" y="0"/>
                            </a:lnTo>
                            <a:cubicBezTo>
                              <a:pt x="76019" y="0"/>
                              <a:pt x="77644" y="1364"/>
                              <a:pt x="77969" y="3118"/>
                            </a:cubicBezTo>
                            <a:lnTo>
                              <a:pt x="77969" y="3118"/>
                            </a:lnTo>
                            <a:close/>
                          </a:path>
                        </a:pathLst>
                      </a:custGeom>
                      <a:solidFill>
                        <a:srgbClr val="2C72B5"/>
                      </a:solidFill>
                      <a:ln w="6471" cap="flat">
                        <a:noFill/>
                        <a:prstDash val="solid"/>
                        <a:miter/>
                      </a:ln>
                    </p:spPr>
                    <p:txBody>
                      <a:bodyPr rtlCol="0" anchor="ctr"/>
                      <a:lstStyle/>
                      <a:p>
                        <a:endParaRPr lang="en-AU"/>
                      </a:p>
                    </p:txBody>
                  </p:sp>
                  <p:sp>
                    <p:nvSpPr>
                      <p:cNvPr id="78" name="Freeform: Shape 77">
                        <a:extLst>
                          <a:ext uri="{FF2B5EF4-FFF2-40B4-BE49-F238E27FC236}">
                            <a16:creationId xmlns:a16="http://schemas.microsoft.com/office/drawing/2014/main" id="{6A239816-54CE-3724-D237-EE96FE9C5B2B}"/>
                          </a:ext>
                        </a:extLst>
                      </p:cNvPr>
                      <p:cNvSpPr/>
                      <p:nvPr/>
                    </p:nvSpPr>
                    <p:spPr>
                      <a:xfrm>
                        <a:off x="4094701" y="6728851"/>
                        <a:ext cx="27661" cy="6236"/>
                      </a:xfrm>
                      <a:custGeom>
                        <a:avLst/>
                        <a:gdLst>
                          <a:gd name="connsiteX0" fmla="*/ 27607 w 27661"/>
                          <a:gd name="connsiteY0" fmla="*/ 3118 h 6236"/>
                          <a:gd name="connsiteX1" fmla="*/ 25073 w 27661"/>
                          <a:gd name="connsiteY1" fmla="*/ 6236 h 6236"/>
                          <a:gd name="connsiteX2" fmla="*/ 3758 w 27661"/>
                          <a:gd name="connsiteY2" fmla="*/ 6236 h 6236"/>
                          <a:gd name="connsiteX3" fmla="*/ 54 w 27661"/>
                          <a:gd name="connsiteY3" fmla="*/ 3118 h 6236"/>
                          <a:gd name="connsiteX4" fmla="*/ 54 w 27661"/>
                          <a:gd name="connsiteY4" fmla="*/ 3118 h 6236"/>
                          <a:gd name="connsiteX5" fmla="*/ 2589 w 27661"/>
                          <a:gd name="connsiteY5" fmla="*/ 0 h 6236"/>
                          <a:gd name="connsiteX6" fmla="*/ 23903 w 27661"/>
                          <a:gd name="connsiteY6" fmla="*/ 0 h 6236"/>
                          <a:gd name="connsiteX7" fmla="*/ 27607 w 27661"/>
                          <a:gd name="connsiteY7" fmla="*/ 3118 h 6236"/>
                          <a:gd name="connsiteX8" fmla="*/ 27607 w 27661"/>
                          <a:gd name="connsiteY8" fmla="*/ 3118 h 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661" h="6236">
                            <a:moveTo>
                              <a:pt x="27607" y="3118"/>
                            </a:moveTo>
                            <a:cubicBezTo>
                              <a:pt x="27932" y="4807"/>
                              <a:pt x="26762" y="6236"/>
                              <a:pt x="25073" y="6236"/>
                            </a:cubicBezTo>
                            <a:lnTo>
                              <a:pt x="3758" y="6236"/>
                            </a:lnTo>
                            <a:cubicBezTo>
                              <a:pt x="2004" y="6236"/>
                              <a:pt x="379" y="4872"/>
                              <a:pt x="54" y="3118"/>
                            </a:cubicBezTo>
                            <a:lnTo>
                              <a:pt x="54" y="3118"/>
                            </a:lnTo>
                            <a:cubicBezTo>
                              <a:pt x="-271" y="1429"/>
                              <a:pt x="899" y="0"/>
                              <a:pt x="2589" y="0"/>
                            </a:cubicBezTo>
                            <a:lnTo>
                              <a:pt x="23903" y="0"/>
                            </a:lnTo>
                            <a:cubicBezTo>
                              <a:pt x="25593" y="0"/>
                              <a:pt x="27282" y="1364"/>
                              <a:pt x="27607" y="3118"/>
                            </a:cubicBezTo>
                            <a:lnTo>
                              <a:pt x="27607" y="3118"/>
                            </a:lnTo>
                            <a:close/>
                          </a:path>
                        </a:pathLst>
                      </a:custGeom>
                      <a:solidFill>
                        <a:srgbClr val="FFFFFF"/>
                      </a:solidFill>
                      <a:ln w="6471" cap="flat">
                        <a:noFill/>
                        <a:prstDash val="solid"/>
                        <a:miter/>
                      </a:ln>
                    </p:spPr>
                    <p:txBody>
                      <a:bodyPr rtlCol="0" anchor="ctr"/>
                      <a:lstStyle/>
                      <a:p>
                        <a:endParaRPr lang="en-AU"/>
                      </a:p>
                    </p:txBody>
                  </p:sp>
                </p:grpSp>
                <p:sp>
                  <p:nvSpPr>
                    <p:cNvPr id="73" name="Freeform: Shape 72">
                      <a:extLst>
                        <a:ext uri="{FF2B5EF4-FFF2-40B4-BE49-F238E27FC236}">
                          <a16:creationId xmlns:a16="http://schemas.microsoft.com/office/drawing/2014/main" id="{26B7A60F-386E-91AD-EC90-CBBD3C5ADC5F}"/>
                        </a:ext>
                      </a:extLst>
                    </p:cNvPr>
                    <p:cNvSpPr/>
                    <p:nvPr/>
                  </p:nvSpPr>
                  <p:spPr>
                    <a:xfrm>
                      <a:off x="3977667" y="6737296"/>
                      <a:ext cx="23632" cy="6236"/>
                    </a:xfrm>
                    <a:custGeom>
                      <a:avLst/>
                      <a:gdLst>
                        <a:gd name="connsiteX0" fmla="*/ 23578 w 23632"/>
                        <a:gd name="connsiteY0" fmla="*/ 3118 h 6236"/>
                        <a:gd name="connsiteX1" fmla="*/ 21044 w 23632"/>
                        <a:gd name="connsiteY1" fmla="*/ 6236 h 6236"/>
                        <a:gd name="connsiteX2" fmla="*/ 3758 w 23632"/>
                        <a:gd name="connsiteY2" fmla="*/ 6236 h 6236"/>
                        <a:gd name="connsiteX3" fmla="*/ 54 w 23632"/>
                        <a:gd name="connsiteY3" fmla="*/ 3118 h 6236"/>
                        <a:gd name="connsiteX4" fmla="*/ 54 w 23632"/>
                        <a:gd name="connsiteY4" fmla="*/ 3118 h 6236"/>
                        <a:gd name="connsiteX5" fmla="*/ 2589 w 23632"/>
                        <a:gd name="connsiteY5" fmla="*/ 0 h 6236"/>
                        <a:gd name="connsiteX6" fmla="*/ 19874 w 23632"/>
                        <a:gd name="connsiteY6" fmla="*/ 0 h 6236"/>
                        <a:gd name="connsiteX7" fmla="*/ 23578 w 23632"/>
                        <a:gd name="connsiteY7" fmla="*/ 3118 h 6236"/>
                        <a:gd name="connsiteX8" fmla="*/ 23578 w 23632"/>
                        <a:gd name="connsiteY8" fmla="*/ 3118 h 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2" h="6236">
                          <a:moveTo>
                            <a:pt x="23578" y="3118"/>
                          </a:moveTo>
                          <a:cubicBezTo>
                            <a:pt x="23903" y="4807"/>
                            <a:pt x="22733" y="6236"/>
                            <a:pt x="21044" y="6236"/>
                          </a:cubicBezTo>
                          <a:lnTo>
                            <a:pt x="3758" y="6236"/>
                          </a:lnTo>
                          <a:cubicBezTo>
                            <a:pt x="2004" y="6236"/>
                            <a:pt x="379" y="4872"/>
                            <a:pt x="54" y="3118"/>
                          </a:cubicBezTo>
                          <a:lnTo>
                            <a:pt x="54" y="3118"/>
                          </a:lnTo>
                          <a:cubicBezTo>
                            <a:pt x="-271" y="1429"/>
                            <a:pt x="899" y="0"/>
                            <a:pt x="2589" y="0"/>
                          </a:cubicBezTo>
                          <a:lnTo>
                            <a:pt x="19874" y="0"/>
                          </a:lnTo>
                          <a:cubicBezTo>
                            <a:pt x="21629" y="0"/>
                            <a:pt x="23253" y="1364"/>
                            <a:pt x="23578" y="3118"/>
                          </a:cubicBezTo>
                          <a:lnTo>
                            <a:pt x="23578" y="3118"/>
                          </a:lnTo>
                          <a:close/>
                        </a:path>
                      </a:pathLst>
                    </a:custGeom>
                    <a:solidFill>
                      <a:srgbClr val="C7C9C9"/>
                    </a:solidFill>
                    <a:ln w="6471" cap="flat">
                      <a:noFill/>
                      <a:prstDash val="solid"/>
                      <a:miter/>
                    </a:ln>
                  </p:spPr>
                  <p:txBody>
                    <a:bodyPr rtlCol="0" anchor="ctr"/>
                    <a:lstStyle/>
                    <a:p>
                      <a:endParaRPr lang="en-AU"/>
                    </a:p>
                  </p:txBody>
                </p:sp>
                <p:sp>
                  <p:nvSpPr>
                    <p:cNvPr id="74" name="Freeform: Shape 73">
                      <a:extLst>
                        <a:ext uri="{FF2B5EF4-FFF2-40B4-BE49-F238E27FC236}">
                          <a16:creationId xmlns:a16="http://schemas.microsoft.com/office/drawing/2014/main" id="{B6DBDADE-996A-BB3A-1B05-83E93C496E6B}"/>
                        </a:ext>
                      </a:extLst>
                    </p:cNvPr>
                    <p:cNvSpPr/>
                    <p:nvPr/>
                  </p:nvSpPr>
                  <p:spPr>
                    <a:xfrm>
                      <a:off x="3993003" y="6745741"/>
                      <a:ext cx="23632" cy="6236"/>
                    </a:xfrm>
                    <a:custGeom>
                      <a:avLst/>
                      <a:gdLst>
                        <a:gd name="connsiteX0" fmla="*/ 23578 w 23632"/>
                        <a:gd name="connsiteY0" fmla="*/ 3118 h 6236"/>
                        <a:gd name="connsiteX1" fmla="*/ 21044 w 23632"/>
                        <a:gd name="connsiteY1" fmla="*/ 6236 h 6236"/>
                        <a:gd name="connsiteX2" fmla="*/ 3758 w 23632"/>
                        <a:gd name="connsiteY2" fmla="*/ 6236 h 6236"/>
                        <a:gd name="connsiteX3" fmla="*/ 54 w 23632"/>
                        <a:gd name="connsiteY3" fmla="*/ 3118 h 6236"/>
                        <a:gd name="connsiteX4" fmla="*/ 54 w 23632"/>
                        <a:gd name="connsiteY4" fmla="*/ 3118 h 6236"/>
                        <a:gd name="connsiteX5" fmla="*/ 2589 w 23632"/>
                        <a:gd name="connsiteY5" fmla="*/ 0 h 6236"/>
                        <a:gd name="connsiteX6" fmla="*/ 19874 w 23632"/>
                        <a:gd name="connsiteY6" fmla="*/ 0 h 6236"/>
                        <a:gd name="connsiteX7" fmla="*/ 23578 w 23632"/>
                        <a:gd name="connsiteY7" fmla="*/ 3118 h 6236"/>
                        <a:gd name="connsiteX8" fmla="*/ 23578 w 23632"/>
                        <a:gd name="connsiteY8" fmla="*/ 3118 h 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2" h="6236">
                          <a:moveTo>
                            <a:pt x="23578" y="3118"/>
                          </a:moveTo>
                          <a:cubicBezTo>
                            <a:pt x="23903" y="4872"/>
                            <a:pt x="22733" y="6236"/>
                            <a:pt x="21044" y="6236"/>
                          </a:cubicBezTo>
                          <a:lnTo>
                            <a:pt x="3758" y="6236"/>
                          </a:lnTo>
                          <a:cubicBezTo>
                            <a:pt x="2069" y="6236"/>
                            <a:pt x="379" y="4872"/>
                            <a:pt x="54" y="3118"/>
                          </a:cubicBezTo>
                          <a:lnTo>
                            <a:pt x="54" y="3118"/>
                          </a:lnTo>
                          <a:cubicBezTo>
                            <a:pt x="-271" y="1429"/>
                            <a:pt x="899" y="0"/>
                            <a:pt x="2589" y="0"/>
                          </a:cubicBezTo>
                          <a:lnTo>
                            <a:pt x="19874" y="0"/>
                          </a:lnTo>
                          <a:cubicBezTo>
                            <a:pt x="21564" y="0"/>
                            <a:pt x="23253" y="1364"/>
                            <a:pt x="23578" y="3118"/>
                          </a:cubicBezTo>
                          <a:lnTo>
                            <a:pt x="23578" y="3118"/>
                          </a:lnTo>
                          <a:close/>
                        </a:path>
                      </a:pathLst>
                    </a:custGeom>
                    <a:solidFill>
                      <a:srgbClr val="2C72B5"/>
                    </a:solidFill>
                    <a:ln w="6471" cap="flat">
                      <a:noFill/>
                      <a:prstDash val="solid"/>
                      <a:miter/>
                    </a:ln>
                  </p:spPr>
                  <p:txBody>
                    <a:bodyPr rtlCol="0" anchor="ctr"/>
                    <a:lstStyle/>
                    <a:p>
                      <a:endParaRPr lang="en-AU"/>
                    </a:p>
                  </p:txBody>
                </p:sp>
                <p:sp>
                  <p:nvSpPr>
                    <p:cNvPr id="75" name="Freeform: Shape 74">
                      <a:extLst>
                        <a:ext uri="{FF2B5EF4-FFF2-40B4-BE49-F238E27FC236}">
                          <a16:creationId xmlns:a16="http://schemas.microsoft.com/office/drawing/2014/main" id="{74657341-D6D4-2273-0738-EB6B99948B1D}"/>
                        </a:ext>
                      </a:extLst>
                    </p:cNvPr>
                    <p:cNvSpPr/>
                    <p:nvPr/>
                  </p:nvSpPr>
                  <p:spPr>
                    <a:xfrm>
                      <a:off x="3994563" y="6754186"/>
                      <a:ext cx="67885" cy="6236"/>
                    </a:xfrm>
                    <a:custGeom>
                      <a:avLst/>
                      <a:gdLst>
                        <a:gd name="connsiteX0" fmla="*/ 67831 w 67885"/>
                        <a:gd name="connsiteY0" fmla="*/ 3118 h 6236"/>
                        <a:gd name="connsiteX1" fmla="*/ 65297 w 67885"/>
                        <a:gd name="connsiteY1" fmla="*/ 6236 h 6236"/>
                        <a:gd name="connsiteX2" fmla="*/ 3758 w 67885"/>
                        <a:gd name="connsiteY2" fmla="*/ 6236 h 6236"/>
                        <a:gd name="connsiteX3" fmla="*/ 54 w 67885"/>
                        <a:gd name="connsiteY3" fmla="*/ 3118 h 6236"/>
                        <a:gd name="connsiteX4" fmla="*/ 54 w 67885"/>
                        <a:gd name="connsiteY4" fmla="*/ 3118 h 6236"/>
                        <a:gd name="connsiteX5" fmla="*/ 2589 w 67885"/>
                        <a:gd name="connsiteY5" fmla="*/ 0 h 6236"/>
                        <a:gd name="connsiteX6" fmla="*/ 64127 w 67885"/>
                        <a:gd name="connsiteY6" fmla="*/ 0 h 6236"/>
                        <a:gd name="connsiteX7" fmla="*/ 67831 w 67885"/>
                        <a:gd name="connsiteY7" fmla="*/ 3118 h 6236"/>
                        <a:gd name="connsiteX8" fmla="*/ 67831 w 67885"/>
                        <a:gd name="connsiteY8" fmla="*/ 3118 h 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885" h="6236">
                          <a:moveTo>
                            <a:pt x="67831" y="3118"/>
                          </a:moveTo>
                          <a:cubicBezTo>
                            <a:pt x="68156" y="4872"/>
                            <a:pt x="66987" y="6236"/>
                            <a:pt x="65297" y="6236"/>
                          </a:cubicBezTo>
                          <a:lnTo>
                            <a:pt x="3758" y="6236"/>
                          </a:lnTo>
                          <a:cubicBezTo>
                            <a:pt x="2069" y="6236"/>
                            <a:pt x="379" y="4872"/>
                            <a:pt x="54" y="3118"/>
                          </a:cubicBezTo>
                          <a:lnTo>
                            <a:pt x="54" y="3118"/>
                          </a:lnTo>
                          <a:cubicBezTo>
                            <a:pt x="-271" y="1429"/>
                            <a:pt x="899" y="0"/>
                            <a:pt x="2589" y="0"/>
                          </a:cubicBezTo>
                          <a:lnTo>
                            <a:pt x="64127" y="0"/>
                          </a:lnTo>
                          <a:cubicBezTo>
                            <a:pt x="65817" y="0"/>
                            <a:pt x="67506" y="1364"/>
                            <a:pt x="67831" y="3118"/>
                          </a:cubicBezTo>
                          <a:lnTo>
                            <a:pt x="67831" y="3118"/>
                          </a:lnTo>
                          <a:close/>
                        </a:path>
                      </a:pathLst>
                    </a:custGeom>
                    <a:solidFill>
                      <a:srgbClr val="C7C9C9"/>
                    </a:solidFill>
                    <a:ln w="6471" cap="flat">
                      <a:noFill/>
                      <a:prstDash val="solid"/>
                      <a:miter/>
                    </a:ln>
                  </p:spPr>
                  <p:txBody>
                    <a:bodyPr rtlCol="0" anchor="ctr"/>
                    <a:lstStyle/>
                    <a:p>
                      <a:endParaRPr lang="en-AU"/>
                    </a:p>
                  </p:txBody>
                </p:sp>
              </p:grpSp>
            </p:grpSp>
          </p:grpSp>
        </p:grpSp>
        <p:grpSp>
          <p:nvGrpSpPr>
            <p:cNvPr id="11" name="Graphic 72">
              <a:extLst>
                <a:ext uri="{FF2B5EF4-FFF2-40B4-BE49-F238E27FC236}">
                  <a16:creationId xmlns:a16="http://schemas.microsoft.com/office/drawing/2014/main" id="{D8DACB4D-E2B1-DFAB-7A9D-82699DB1CAD2}"/>
                </a:ext>
              </a:extLst>
            </p:cNvPr>
            <p:cNvGrpSpPr/>
            <p:nvPr/>
          </p:nvGrpSpPr>
          <p:grpSpPr>
            <a:xfrm flipH="1">
              <a:off x="3877118" y="6413679"/>
              <a:ext cx="159751" cy="385654"/>
              <a:chOff x="4728651" y="6413679"/>
              <a:chExt cx="159751" cy="385654"/>
            </a:xfrm>
          </p:grpSpPr>
          <p:grpSp>
            <p:nvGrpSpPr>
              <p:cNvPr id="39" name="Graphic 72">
                <a:extLst>
                  <a:ext uri="{FF2B5EF4-FFF2-40B4-BE49-F238E27FC236}">
                    <a16:creationId xmlns:a16="http://schemas.microsoft.com/office/drawing/2014/main" id="{EFBF31D0-D97F-7B02-A6A6-846CCCBF7B44}"/>
                  </a:ext>
                </a:extLst>
              </p:cNvPr>
              <p:cNvGrpSpPr/>
              <p:nvPr/>
            </p:nvGrpSpPr>
            <p:grpSpPr>
              <a:xfrm>
                <a:off x="4728651" y="6413679"/>
                <a:ext cx="159751" cy="321226"/>
                <a:chOff x="4728651" y="6413679"/>
                <a:chExt cx="159751" cy="321226"/>
              </a:xfrm>
              <a:solidFill>
                <a:srgbClr val="8DC441"/>
              </a:solidFill>
            </p:grpSpPr>
            <p:sp>
              <p:nvSpPr>
                <p:cNvPr id="41" name="Freeform: Shape 40">
                  <a:extLst>
                    <a:ext uri="{FF2B5EF4-FFF2-40B4-BE49-F238E27FC236}">
                      <a16:creationId xmlns:a16="http://schemas.microsoft.com/office/drawing/2014/main" id="{749D996C-4F11-0A7C-1B1D-8E78074D9B67}"/>
                    </a:ext>
                  </a:extLst>
                </p:cNvPr>
                <p:cNvSpPr/>
                <p:nvPr/>
              </p:nvSpPr>
              <p:spPr>
                <a:xfrm>
                  <a:off x="4801706" y="6420742"/>
                  <a:ext cx="49836" cy="60221"/>
                </a:xfrm>
                <a:custGeom>
                  <a:avLst/>
                  <a:gdLst>
                    <a:gd name="connsiteX0" fmla="*/ 5521 w 49836"/>
                    <a:gd name="connsiteY0" fmla="*/ 15462 h 60221"/>
                    <a:gd name="connsiteX1" fmla="*/ 9290 w 49836"/>
                    <a:gd name="connsiteY1" fmla="*/ 56387 h 60221"/>
                    <a:gd name="connsiteX2" fmla="*/ 44316 w 49836"/>
                    <a:gd name="connsiteY2" fmla="*/ 44759 h 60221"/>
                    <a:gd name="connsiteX3" fmla="*/ 40547 w 49836"/>
                    <a:gd name="connsiteY3" fmla="*/ 3834 h 60221"/>
                    <a:gd name="connsiteX4" fmla="*/ 5521 w 49836"/>
                    <a:gd name="connsiteY4" fmla="*/ 15462 h 60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36" h="60221">
                      <a:moveTo>
                        <a:pt x="5521" y="15462"/>
                      </a:moveTo>
                      <a:cubicBezTo>
                        <a:pt x="-3122" y="30013"/>
                        <a:pt x="-1432" y="48332"/>
                        <a:pt x="9290" y="56387"/>
                      </a:cubicBezTo>
                      <a:cubicBezTo>
                        <a:pt x="20012" y="64507"/>
                        <a:pt x="35673" y="59311"/>
                        <a:pt x="44316" y="44759"/>
                      </a:cubicBezTo>
                      <a:cubicBezTo>
                        <a:pt x="52959" y="30273"/>
                        <a:pt x="51269" y="11889"/>
                        <a:pt x="40547" y="3834"/>
                      </a:cubicBezTo>
                      <a:cubicBezTo>
                        <a:pt x="29825" y="-4286"/>
                        <a:pt x="14164" y="911"/>
                        <a:pt x="5521" y="15462"/>
                      </a:cubicBezTo>
                      <a:close/>
                    </a:path>
                  </a:pathLst>
                </a:custGeom>
                <a:solidFill>
                  <a:srgbClr val="8DC441"/>
                </a:solidFill>
                <a:ln w="6471" cap="flat">
                  <a:noFill/>
                  <a:prstDash val="solid"/>
                  <a:miter/>
                </a:ln>
              </p:spPr>
              <p:txBody>
                <a:bodyPr rtlCol="0" anchor="ctr"/>
                <a:lstStyle/>
                <a:p>
                  <a:endParaRPr lang="en-AU"/>
                </a:p>
              </p:txBody>
            </p:sp>
            <p:sp>
              <p:nvSpPr>
                <p:cNvPr id="42" name="Freeform: Shape 41">
                  <a:extLst>
                    <a:ext uri="{FF2B5EF4-FFF2-40B4-BE49-F238E27FC236}">
                      <a16:creationId xmlns:a16="http://schemas.microsoft.com/office/drawing/2014/main" id="{64822D82-918C-AE5F-DAC8-67542D6CC52F}"/>
                    </a:ext>
                  </a:extLst>
                </p:cNvPr>
                <p:cNvSpPr/>
                <p:nvPr/>
              </p:nvSpPr>
              <p:spPr>
                <a:xfrm>
                  <a:off x="4771277" y="6468059"/>
                  <a:ext cx="71899" cy="91544"/>
                </a:xfrm>
                <a:custGeom>
                  <a:avLst/>
                  <a:gdLst>
                    <a:gd name="connsiteX0" fmla="*/ 8982 w 71899"/>
                    <a:gd name="connsiteY0" fmla="*/ 65131 h 91544"/>
                    <a:gd name="connsiteX1" fmla="*/ 59734 w 71899"/>
                    <a:gd name="connsiteY1" fmla="*/ 87217 h 91544"/>
                    <a:gd name="connsiteX2" fmla="*/ 62918 w 71899"/>
                    <a:gd name="connsiteY2" fmla="*/ 26414 h 91544"/>
                    <a:gd name="connsiteX3" fmla="*/ 12166 w 71899"/>
                    <a:gd name="connsiteY3" fmla="*/ 4328 h 91544"/>
                    <a:gd name="connsiteX4" fmla="*/ 8982 w 71899"/>
                    <a:gd name="connsiteY4" fmla="*/ 65131 h 91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899" h="91544">
                      <a:moveTo>
                        <a:pt x="8982" y="65131"/>
                      </a:moveTo>
                      <a:cubicBezTo>
                        <a:pt x="22109" y="88062"/>
                        <a:pt x="44853" y="97936"/>
                        <a:pt x="59734" y="87217"/>
                      </a:cubicBezTo>
                      <a:cubicBezTo>
                        <a:pt x="74615" y="76499"/>
                        <a:pt x="76044" y="49280"/>
                        <a:pt x="62918" y="26414"/>
                      </a:cubicBezTo>
                      <a:cubicBezTo>
                        <a:pt x="49791" y="3483"/>
                        <a:pt x="27047" y="-6391"/>
                        <a:pt x="12166" y="4328"/>
                      </a:cubicBezTo>
                      <a:cubicBezTo>
                        <a:pt x="-2715" y="14981"/>
                        <a:pt x="-4145" y="42265"/>
                        <a:pt x="8982" y="65131"/>
                      </a:cubicBezTo>
                      <a:close/>
                    </a:path>
                  </a:pathLst>
                </a:custGeom>
                <a:solidFill>
                  <a:srgbClr val="8DC441"/>
                </a:solidFill>
                <a:ln w="6471" cap="flat">
                  <a:noFill/>
                  <a:prstDash val="solid"/>
                  <a:miter/>
                </a:ln>
              </p:spPr>
              <p:txBody>
                <a:bodyPr rtlCol="0" anchor="ctr"/>
                <a:lstStyle/>
                <a:p>
                  <a:endParaRPr lang="en-AU"/>
                </a:p>
              </p:txBody>
            </p:sp>
            <p:sp>
              <p:nvSpPr>
                <p:cNvPr id="43" name="Freeform: Shape 42">
                  <a:extLst>
                    <a:ext uri="{FF2B5EF4-FFF2-40B4-BE49-F238E27FC236}">
                      <a16:creationId xmlns:a16="http://schemas.microsoft.com/office/drawing/2014/main" id="{C8A5CCA6-3F5B-64E9-5D81-4F8F271C68EB}"/>
                    </a:ext>
                  </a:extLst>
                </p:cNvPr>
                <p:cNvSpPr/>
                <p:nvPr/>
              </p:nvSpPr>
              <p:spPr>
                <a:xfrm>
                  <a:off x="4801692" y="6539491"/>
                  <a:ext cx="86710" cy="100363"/>
                </a:xfrm>
                <a:custGeom>
                  <a:avLst/>
                  <a:gdLst>
                    <a:gd name="connsiteX0" fmla="*/ 10149 w 86710"/>
                    <a:gd name="connsiteY0" fmla="*/ 30077 h 100363"/>
                    <a:gd name="connsiteX1" fmla="*/ 15477 w 86710"/>
                    <a:gd name="connsiteY1" fmla="*/ 96141 h 100363"/>
                    <a:gd name="connsiteX2" fmla="*/ 76561 w 86710"/>
                    <a:gd name="connsiteY2" fmla="*/ 70287 h 100363"/>
                    <a:gd name="connsiteX3" fmla="*/ 71233 w 86710"/>
                    <a:gd name="connsiteY3" fmla="*/ 4222 h 100363"/>
                    <a:gd name="connsiteX4" fmla="*/ 10149 w 86710"/>
                    <a:gd name="connsiteY4" fmla="*/ 30077 h 100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710" h="100363">
                      <a:moveTo>
                        <a:pt x="10149" y="30077"/>
                      </a:moveTo>
                      <a:cubicBezTo>
                        <a:pt x="-5252" y="55476"/>
                        <a:pt x="-2848" y="85033"/>
                        <a:pt x="15477" y="96141"/>
                      </a:cubicBezTo>
                      <a:cubicBezTo>
                        <a:pt x="33803" y="107250"/>
                        <a:pt x="61160" y="95687"/>
                        <a:pt x="76561" y="70287"/>
                      </a:cubicBezTo>
                      <a:cubicBezTo>
                        <a:pt x="91962" y="44888"/>
                        <a:pt x="89558" y="15331"/>
                        <a:pt x="71233" y="4222"/>
                      </a:cubicBezTo>
                      <a:cubicBezTo>
                        <a:pt x="52908" y="-6886"/>
                        <a:pt x="25550" y="4677"/>
                        <a:pt x="10149" y="30077"/>
                      </a:cubicBezTo>
                      <a:close/>
                    </a:path>
                  </a:pathLst>
                </a:custGeom>
                <a:solidFill>
                  <a:srgbClr val="8DC441"/>
                </a:solidFill>
                <a:ln w="6471" cap="flat">
                  <a:noFill/>
                  <a:prstDash val="solid"/>
                  <a:miter/>
                </a:ln>
              </p:spPr>
              <p:txBody>
                <a:bodyPr rtlCol="0" anchor="ctr"/>
                <a:lstStyle/>
                <a:p>
                  <a:endParaRPr lang="en-AU"/>
                </a:p>
              </p:txBody>
            </p:sp>
            <p:sp>
              <p:nvSpPr>
                <p:cNvPr id="44" name="Freeform: Shape 43">
                  <a:extLst>
                    <a:ext uri="{FF2B5EF4-FFF2-40B4-BE49-F238E27FC236}">
                      <a16:creationId xmlns:a16="http://schemas.microsoft.com/office/drawing/2014/main" id="{6D9AEFCC-24C8-41FC-2A07-1FC603F94769}"/>
                    </a:ext>
                  </a:extLst>
                </p:cNvPr>
                <p:cNvSpPr/>
                <p:nvPr/>
              </p:nvSpPr>
              <p:spPr>
                <a:xfrm>
                  <a:off x="4728651" y="6603985"/>
                  <a:ext cx="114285" cy="130920"/>
                </a:xfrm>
                <a:custGeom>
                  <a:avLst/>
                  <a:gdLst>
                    <a:gd name="connsiteX0" fmla="*/ 14243 w 114285"/>
                    <a:gd name="connsiteY0" fmla="*/ 92646 h 130920"/>
                    <a:gd name="connsiteX1" fmla="*/ 94887 w 114285"/>
                    <a:gd name="connsiteY1" fmla="*/ 124997 h 130920"/>
                    <a:gd name="connsiteX2" fmla="*/ 100020 w 114285"/>
                    <a:gd name="connsiteY2" fmla="*/ 38274 h 130920"/>
                    <a:gd name="connsiteX3" fmla="*/ 19377 w 114285"/>
                    <a:gd name="connsiteY3" fmla="*/ 5924 h 130920"/>
                    <a:gd name="connsiteX4" fmla="*/ 14243 w 114285"/>
                    <a:gd name="connsiteY4" fmla="*/ 92646 h 130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285" h="130920">
                      <a:moveTo>
                        <a:pt x="14243" y="92646"/>
                      </a:moveTo>
                      <a:cubicBezTo>
                        <a:pt x="35103" y="125516"/>
                        <a:pt x="71168" y="140003"/>
                        <a:pt x="94887" y="124997"/>
                      </a:cubicBezTo>
                      <a:cubicBezTo>
                        <a:pt x="118605" y="109991"/>
                        <a:pt x="120880" y="71144"/>
                        <a:pt x="100020" y="38274"/>
                      </a:cubicBezTo>
                      <a:cubicBezTo>
                        <a:pt x="79161" y="5404"/>
                        <a:pt x="43095" y="-9082"/>
                        <a:pt x="19377" y="5924"/>
                      </a:cubicBezTo>
                      <a:cubicBezTo>
                        <a:pt x="-4277" y="20930"/>
                        <a:pt x="-6616" y="59776"/>
                        <a:pt x="14243" y="92646"/>
                      </a:cubicBezTo>
                      <a:close/>
                    </a:path>
                  </a:pathLst>
                </a:custGeom>
                <a:solidFill>
                  <a:srgbClr val="8DC441"/>
                </a:solidFill>
                <a:ln w="6471" cap="flat">
                  <a:noFill/>
                  <a:prstDash val="solid"/>
                  <a:miter/>
                </a:ln>
              </p:spPr>
              <p:txBody>
                <a:bodyPr rtlCol="0" anchor="ctr"/>
                <a:lstStyle/>
                <a:p>
                  <a:endParaRPr lang="en-AU"/>
                </a:p>
              </p:txBody>
            </p:sp>
            <p:grpSp>
              <p:nvGrpSpPr>
                <p:cNvPr id="45" name="Graphic 72">
                  <a:extLst>
                    <a:ext uri="{FF2B5EF4-FFF2-40B4-BE49-F238E27FC236}">
                      <a16:creationId xmlns:a16="http://schemas.microsoft.com/office/drawing/2014/main" id="{F5E163B0-752E-1947-12D7-CA08B8754E76}"/>
                    </a:ext>
                  </a:extLst>
                </p:cNvPr>
                <p:cNvGrpSpPr/>
                <p:nvPr/>
              </p:nvGrpSpPr>
              <p:grpSpPr>
                <a:xfrm>
                  <a:off x="4741630" y="6413679"/>
                  <a:ext cx="144020" cy="206103"/>
                  <a:chOff x="4741630" y="6413679"/>
                  <a:chExt cx="144020" cy="206103"/>
                </a:xfrm>
                <a:solidFill>
                  <a:srgbClr val="8DC441"/>
                </a:solidFill>
              </p:grpSpPr>
              <p:sp>
                <p:nvSpPr>
                  <p:cNvPr id="46" name="Freeform: Shape 45">
                    <a:extLst>
                      <a:ext uri="{FF2B5EF4-FFF2-40B4-BE49-F238E27FC236}">
                        <a16:creationId xmlns:a16="http://schemas.microsoft.com/office/drawing/2014/main" id="{83C96F52-A5CD-63A7-8215-0320E5DE308D}"/>
                      </a:ext>
                    </a:extLst>
                  </p:cNvPr>
                  <p:cNvSpPr/>
                  <p:nvPr/>
                </p:nvSpPr>
                <p:spPr>
                  <a:xfrm rot="-1133999">
                    <a:off x="4755548" y="6590011"/>
                    <a:ext cx="2989" cy="27803"/>
                  </a:xfrm>
                  <a:custGeom>
                    <a:avLst/>
                    <a:gdLst>
                      <a:gd name="connsiteX0" fmla="*/ 0 w 2989"/>
                      <a:gd name="connsiteY0" fmla="*/ 0 h 27803"/>
                      <a:gd name="connsiteX1" fmla="*/ 2989 w 2989"/>
                      <a:gd name="connsiteY1" fmla="*/ 0 h 27803"/>
                      <a:gd name="connsiteX2" fmla="*/ 2989 w 2989"/>
                      <a:gd name="connsiteY2" fmla="*/ 27803 h 27803"/>
                      <a:gd name="connsiteX3" fmla="*/ 0 w 2989"/>
                      <a:gd name="connsiteY3" fmla="*/ 27803 h 27803"/>
                    </a:gdLst>
                    <a:ahLst/>
                    <a:cxnLst>
                      <a:cxn ang="0">
                        <a:pos x="connsiteX0" y="connsiteY0"/>
                      </a:cxn>
                      <a:cxn ang="0">
                        <a:pos x="connsiteX1" y="connsiteY1"/>
                      </a:cxn>
                      <a:cxn ang="0">
                        <a:pos x="connsiteX2" y="connsiteY2"/>
                      </a:cxn>
                      <a:cxn ang="0">
                        <a:pos x="connsiteX3" y="connsiteY3"/>
                      </a:cxn>
                    </a:cxnLst>
                    <a:rect l="l" t="t" r="r" b="b"/>
                    <a:pathLst>
                      <a:path w="2989" h="27803">
                        <a:moveTo>
                          <a:pt x="0" y="0"/>
                        </a:moveTo>
                        <a:lnTo>
                          <a:pt x="2989" y="0"/>
                        </a:lnTo>
                        <a:lnTo>
                          <a:pt x="2989" y="27803"/>
                        </a:lnTo>
                        <a:lnTo>
                          <a:pt x="0" y="27803"/>
                        </a:lnTo>
                        <a:close/>
                      </a:path>
                    </a:pathLst>
                  </a:custGeom>
                  <a:solidFill>
                    <a:srgbClr val="8DC441"/>
                  </a:solidFill>
                  <a:ln w="6471" cap="flat">
                    <a:noFill/>
                    <a:prstDash val="solid"/>
                    <a:miter/>
                  </a:ln>
                </p:spPr>
                <p:txBody>
                  <a:bodyPr rtlCol="0" anchor="ctr"/>
                  <a:lstStyle/>
                  <a:p>
                    <a:endParaRPr lang="en-AU"/>
                  </a:p>
                </p:txBody>
              </p:sp>
              <p:sp>
                <p:nvSpPr>
                  <p:cNvPr id="47" name="Freeform: Shape 46">
                    <a:extLst>
                      <a:ext uri="{FF2B5EF4-FFF2-40B4-BE49-F238E27FC236}">
                        <a16:creationId xmlns:a16="http://schemas.microsoft.com/office/drawing/2014/main" id="{6D35F282-60EE-59D6-DF96-A968980B8994}"/>
                      </a:ext>
                    </a:extLst>
                  </p:cNvPr>
                  <p:cNvSpPr/>
                  <p:nvPr/>
                </p:nvSpPr>
                <p:spPr>
                  <a:xfrm rot="-1616400">
                    <a:off x="4744677" y="6604467"/>
                    <a:ext cx="2989" cy="14161"/>
                  </a:xfrm>
                  <a:custGeom>
                    <a:avLst/>
                    <a:gdLst>
                      <a:gd name="connsiteX0" fmla="*/ 0 w 2989"/>
                      <a:gd name="connsiteY0" fmla="*/ 0 h 14161"/>
                      <a:gd name="connsiteX1" fmla="*/ 2989 w 2989"/>
                      <a:gd name="connsiteY1" fmla="*/ 0 h 14161"/>
                      <a:gd name="connsiteX2" fmla="*/ 2989 w 2989"/>
                      <a:gd name="connsiteY2" fmla="*/ 14161 h 14161"/>
                      <a:gd name="connsiteX3" fmla="*/ 0 w 2989"/>
                      <a:gd name="connsiteY3" fmla="*/ 14161 h 14161"/>
                    </a:gdLst>
                    <a:ahLst/>
                    <a:cxnLst>
                      <a:cxn ang="0">
                        <a:pos x="connsiteX0" y="connsiteY0"/>
                      </a:cxn>
                      <a:cxn ang="0">
                        <a:pos x="connsiteX1" y="connsiteY1"/>
                      </a:cxn>
                      <a:cxn ang="0">
                        <a:pos x="connsiteX2" y="connsiteY2"/>
                      </a:cxn>
                      <a:cxn ang="0">
                        <a:pos x="connsiteX3" y="connsiteY3"/>
                      </a:cxn>
                    </a:cxnLst>
                    <a:rect l="l" t="t" r="r" b="b"/>
                    <a:pathLst>
                      <a:path w="2989" h="14161">
                        <a:moveTo>
                          <a:pt x="0" y="0"/>
                        </a:moveTo>
                        <a:lnTo>
                          <a:pt x="2989" y="0"/>
                        </a:lnTo>
                        <a:lnTo>
                          <a:pt x="2989" y="14161"/>
                        </a:lnTo>
                        <a:lnTo>
                          <a:pt x="0" y="14161"/>
                        </a:lnTo>
                        <a:close/>
                      </a:path>
                    </a:pathLst>
                  </a:custGeom>
                  <a:solidFill>
                    <a:srgbClr val="8DC441"/>
                  </a:solidFill>
                  <a:ln w="6471" cap="flat">
                    <a:noFill/>
                    <a:prstDash val="solid"/>
                    <a:miter/>
                  </a:ln>
                </p:spPr>
                <p:txBody>
                  <a:bodyPr rtlCol="0" anchor="ctr"/>
                  <a:lstStyle/>
                  <a:p>
                    <a:endParaRPr lang="en-AU"/>
                  </a:p>
                </p:txBody>
              </p:sp>
              <p:sp>
                <p:nvSpPr>
                  <p:cNvPr id="48" name="Freeform: Shape 47">
                    <a:extLst>
                      <a:ext uri="{FF2B5EF4-FFF2-40B4-BE49-F238E27FC236}">
                        <a16:creationId xmlns:a16="http://schemas.microsoft.com/office/drawing/2014/main" id="{0B7D7B99-7CD2-7B20-4D78-5D66C4FD35E4}"/>
                      </a:ext>
                    </a:extLst>
                  </p:cNvPr>
                  <p:cNvSpPr/>
                  <p:nvPr/>
                </p:nvSpPr>
                <p:spPr>
                  <a:xfrm rot="-4757999">
                    <a:off x="4778981" y="6605723"/>
                    <a:ext cx="25018" cy="2988"/>
                  </a:xfrm>
                  <a:custGeom>
                    <a:avLst/>
                    <a:gdLst>
                      <a:gd name="connsiteX0" fmla="*/ 0 w 25018"/>
                      <a:gd name="connsiteY0" fmla="*/ 0 h 2988"/>
                      <a:gd name="connsiteX1" fmla="*/ 25018 w 25018"/>
                      <a:gd name="connsiteY1" fmla="*/ 0 h 2988"/>
                      <a:gd name="connsiteX2" fmla="*/ 25018 w 25018"/>
                      <a:gd name="connsiteY2" fmla="*/ 2988 h 2988"/>
                      <a:gd name="connsiteX3" fmla="*/ 0 w 25018"/>
                      <a:gd name="connsiteY3" fmla="*/ 2988 h 2988"/>
                    </a:gdLst>
                    <a:ahLst/>
                    <a:cxnLst>
                      <a:cxn ang="0">
                        <a:pos x="connsiteX0" y="connsiteY0"/>
                      </a:cxn>
                      <a:cxn ang="0">
                        <a:pos x="connsiteX1" y="connsiteY1"/>
                      </a:cxn>
                      <a:cxn ang="0">
                        <a:pos x="connsiteX2" y="connsiteY2"/>
                      </a:cxn>
                      <a:cxn ang="0">
                        <a:pos x="connsiteX3" y="connsiteY3"/>
                      </a:cxn>
                    </a:cxnLst>
                    <a:rect l="l" t="t" r="r" b="b"/>
                    <a:pathLst>
                      <a:path w="25018" h="2988">
                        <a:moveTo>
                          <a:pt x="0" y="0"/>
                        </a:moveTo>
                        <a:lnTo>
                          <a:pt x="25018" y="0"/>
                        </a:lnTo>
                        <a:lnTo>
                          <a:pt x="25018" y="2988"/>
                        </a:lnTo>
                        <a:lnTo>
                          <a:pt x="0" y="2988"/>
                        </a:lnTo>
                        <a:close/>
                      </a:path>
                    </a:pathLst>
                  </a:custGeom>
                  <a:solidFill>
                    <a:srgbClr val="8DC441"/>
                  </a:solidFill>
                  <a:ln w="6471" cap="flat">
                    <a:noFill/>
                    <a:prstDash val="solid"/>
                    <a:miter/>
                  </a:ln>
                </p:spPr>
                <p:txBody>
                  <a:bodyPr rtlCol="0" anchor="ctr"/>
                  <a:lstStyle/>
                  <a:p>
                    <a:endParaRPr lang="en-AU"/>
                  </a:p>
                </p:txBody>
              </p:sp>
              <p:sp>
                <p:nvSpPr>
                  <p:cNvPr id="49" name="Freeform: Shape 48">
                    <a:extLst>
                      <a:ext uri="{FF2B5EF4-FFF2-40B4-BE49-F238E27FC236}">
                        <a16:creationId xmlns:a16="http://schemas.microsoft.com/office/drawing/2014/main" id="{51A33F10-5CEE-DBBA-3A0B-457E47F4714D}"/>
                      </a:ext>
                    </a:extLst>
                  </p:cNvPr>
                  <p:cNvSpPr/>
                  <p:nvPr/>
                </p:nvSpPr>
                <p:spPr>
                  <a:xfrm rot="-4585800">
                    <a:off x="4854532" y="6538040"/>
                    <a:ext cx="17870" cy="2988"/>
                  </a:xfrm>
                  <a:custGeom>
                    <a:avLst/>
                    <a:gdLst>
                      <a:gd name="connsiteX0" fmla="*/ 0 w 17870"/>
                      <a:gd name="connsiteY0" fmla="*/ 0 h 2988"/>
                      <a:gd name="connsiteX1" fmla="*/ 17870 w 17870"/>
                      <a:gd name="connsiteY1" fmla="*/ 0 h 2988"/>
                      <a:gd name="connsiteX2" fmla="*/ 17870 w 17870"/>
                      <a:gd name="connsiteY2" fmla="*/ 2988 h 2988"/>
                      <a:gd name="connsiteX3" fmla="*/ 0 w 17870"/>
                      <a:gd name="connsiteY3" fmla="*/ 2988 h 2988"/>
                    </a:gdLst>
                    <a:ahLst/>
                    <a:cxnLst>
                      <a:cxn ang="0">
                        <a:pos x="connsiteX0" y="connsiteY0"/>
                      </a:cxn>
                      <a:cxn ang="0">
                        <a:pos x="connsiteX1" y="connsiteY1"/>
                      </a:cxn>
                      <a:cxn ang="0">
                        <a:pos x="connsiteX2" y="connsiteY2"/>
                      </a:cxn>
                      <a:cxn ang="0">
                        <a:pos x="connsiteX3" y="connsiteY3"/>
                      </a:cxn>
                    </a:cxnLst>
                    <a:rect l="l" t="t" r="r" b="b"/>
                    <a:pathLst>
                      <a:path w="17870" h="2988">
                        <a:moveTo>
                          <a:pt x="0" y="0"/>
                        </a:moveTo>
                        <a:lnTo>
                          <a:pt x="17870" y="0"/>
                        </a:lnTo>
                        <a:lnTo>
                          <a:pt x="17870" y="2988"/>
                        </a:lnTo>
                        <a:lnTo>
                          <a:pt x="0" y="2988"/>
                        </a:lnTo>
                        <a:close/>
                      </a:path>
                    </a:pathLst>
                  </a:custGeom>
                  <a:solidFill>
                    <a:srgbClr val="8DC441"/>
                  </a:solidFill>
                  <a:ln w="6471" cap="flat">
                    <a:noFill/>
                    <a:prstDash val="solid"/>
                    <a:miter/>
                  </a:ln>
                </p:spPr>
                <p:txBody>
                  <a:bodyPr rtlCol="0" anchor="ctr"/>
                  <a:lstStyle/>
                  <a:p>
                    <a:endParaRPr lang="en-AU"/>
                  </a:p>
                </p:txBody>
              </p:sp>
              <p:sp>
                <p:nvSpPr>
                  <p:cNvPr id="50" name="Freeform: Shape 49">
                    <a:extLst>
                      <a:ext uri="{FF2B5EF4-FFF2-40B4-BE49-F238E27FC236}">
                        <a16:creationId xmlns:a16="http://schemas.microsoft.com/office/drawing/2014/main" id="{A607C591-185A-B360-1A03-772B305AC530}"/>
                      </a:ext>
                    </a:extLst>
                  </p:cNvPr>
                  <p:cNvSpPr/>
                  <p:nvPr/>
                </p:nvSpPr>
                <p:spPr>
                  <a:xfrm rot="-1909800">
                    <a:off x="4870800" y="6547174"/>
                    <a:ext cx="15205" cy="2988"/>
                  </a:xfrm>
                  <a:custGeom>
                    <a:avLst/>
                    <a:gdLst>
                      <a:gd name="connsiteX0" fmla="*/ 0 w 15205"/>
                      <a:gd name="connsiteY0" fmla="*/ 0 h 2988"/>
                      <a:gd name="connsiteX1" fmla="*/ 15206 w 15205"/>
                      <a:gd name="connsiteY1" fmla="*/ 0 h 2988"/>
                      <a:gd name="connsiteX2" fmla="*/ 15206 w 15205"/>
                      <a:gd name="connsiteY2" fmla="*/ 2988 h 2988"/>
                      <a:gd name="connsiteX3" fmla="*/ 0 w 15205"/>
                      <a:gd name="connsiteY3" fmla="*/ 2988 h 2988"/>
                    </a:gdLst>
                    <a:ahLst/>
                    <a:cxnLst>
                      <a:cxn ang="0">
                        <a:pos x="connsiteX0" y="connsiteY0"/>
                      </a:cxn>
                      <a:cxn ang="0">
                        <a:pos x="connsiteX1" y="connsiteY1"/>
                      </a:cxn>
                      <a:cxn ang="0">
                        <a:pos x="connsiteX2" y="connsiteY2"/>
                      </a:cxn>
                      <a:cxn ang="0">
                        <a:pos x="connsiteX3" y="connsiteY3"/>
                      </a:cxn>
                    </a:cxnLst>
                    <a:rect l="l" t="t" r="r" b="b"/>
                    <a:pathLst>
                      <a:path w="15205" h="2988">
                        <a:moveTo>
                          <a:pt x="0" y="0"/>
                        </a:moveTo>
                        <a:lnTo>
                          <a:pt x="15206" y="0"/>
                        </a:lnTo>
                        <a:lnTo>
                          <a:pt x="15206" y="2988"/>
                        </a:lnTo>
                        <a:lnTo>
                          <a:pt x="0" y="2988"/>
                        </a:lnTo>
                        <a:close/>
                      </a:path>
                    </a:pathLst>
                  </a:custGeom>
                  <a:solidFill>
                    <a:srgbClr val="8DC441"/>
                  </a:solidFill>
                  <a:ln w="6471" cap="flat">
                    <a:noFill/>
                    <a:prstDash val="solid"/>
                    <a:miter/>
                  </a:ln>
                </p:spPr>
                <p:txBody>
                  <a:bodyPr rtlCol="0" anchor="ctr"/>
                  <a:lstStyle/>
                  <a:p>
                    <a:endParaRPr lang="en-AU"/>
                  </a:p>
                </p:txBody>
              </p:sp>
              <p:sp>
                <p:nvSpPr>
                  <p:cNvPr id="51" name="Freeform: Shape 50">
                    <a:extLst>
                      <a:ext uri="{FF2B5EF4-FFF2-40B4-BE49-F238E27FC236}">
                        <a16:creationId xmlns:a16="http://schemas.microsoft.com/office/drawing/2014/main" id="{3EB118BC-6920-54E7-DB32-6B1EB32FF37E}"/>
                      </a:ext>
                    </a:extLst>
                  </p:cNvPr>
                  <p:cNvSpPr/>
                  <p:nvPr/>
                </p:nvSpPr>
                <p:spPr>
                  <a:xfrm rot="-983998">
                    <a:off x="4781878" y="6461258"/>
                    <a:ext cx="2989" cy="16889"/>
                  </a:xfrm>
                  <a:custGeom>
                    <a:avLst/>
                    <a:gdLst>
                      <a:gd name="connsiteX0" fmla="*/ 0 w 2989"/>
                      <a:gd name="connsiteY0" fmla="*/ 0 h 16889"/>
                      <a:gd name="connsiteX1" fmla="*/ 2989 w 2989"/>
                      <a:gd name="connsiteY1" fmla="*/ 0 h 16889"/>
                      <a:gd name="connsiteX2" fmla="*/ 2989 w 2989"/>
                      <a:gd name="connsiteY2" fmla="*/ 16890 h 16889"/>
                      <a:gd name="connsiteX3" fmla="*/ 0 w 2989"/>
                      <a:gd name="connsiteY3" fmla="*/ 16890 h 16889"/>
                    </a:gdLst>
                    <a:ahLst/>
                    <a:cxnLst>
                      <a:cxn ang="0">
                        <a:pos x="connsiteX0" y="connsiteY0"/>
                      </a:cxn>
                      <a:cxn ang="0">
                        <a:pos x="connsiteX1" y="connsiteY1"/>
                      </a:cxn>
                      <a:cxn ang="0">
                        <a:pos x="connsiteX2" y="connsiteY2"/>
                      </a:cxn>
                      <a:cxn ang="0">
                        <a:pos x="connsiteX3" y="connsiteY3"/>
                      </a:cxn>
                    </a:cxnLst>
                    <a:rect l="l" t="t" r="r" b="b"/>
                    <a:pathLst>
                      <a:path w="2989" h="16889">
                        <a:moveTo>
                          <a:pt x="0" y="0"/>
                        </a:moveTo>
                        <a:lnTo>
                          <a:pt x="2989" y="0"/>
                        </a:lnTo>
                        <a:lnTo>
                          <a:pt x="2989" y="16890"/>
                        </a:lnTo>
                        <a:lnTo>
                          <a:pt x="0" y="16890"/>
                        </a:lnTo>
                        <a:close/>
                      </a:path>
                    </a:pathLst>
                  </a:custGeom>
                  <a:solidFill>
                    <a:srgbClr val="8DC441"/>
                  </a:solidFill>
                  <a:ln w="6471" cap="flat">
                    <a:noFill/>
                    <a:prstDash val="solid"/>
                    <a:miter/>
                  </a:ln>
                </p:spPr>
                <p:txBody>
                  <a:bodyPr rtlCol="0" anchor="ctr"/>
                  <a:lstStyle/>
                  <a:p>
                    <a:endParaRPr lang="en-AU"/>
                  </a:p>
                </p:txBody>
              </p:sp>
              <p:sp>
                <p:nvSpPr>
                  <p:cNvPr id="52" name="Freeform: Shape 51">
                    <a:extLst>
                      <a:ext uri="{FF2B5EF4-FFF2-40B4-BE49-F238E27FC236}">
                        <a16:creationId xmlns:a16="http://schemas.microsoft.com/office/drawing/2014/main" id="{F7B7F793-E4BD-72BE-3AC1-2A2D5A3027BA}"/>
                      </a:ext>
                    </a:extLst>
                  </p:cNvPr>
                  <p:cNvSpPr/>
                  <p:nvPr/>
                </p:nvSpPr>
                <p:spPr>
                  <a:xfrm rot="-2884800">
                    <a:off x="4836037" y="6425132"/>
                    <a:ext cx="15660" cy="2988"/>
                  </a:xfrm>
                  <a:custGeom>
                    <a:avLst/>
                    <a:gdLst>
                      <a:gd name="connsiteX0" fmla="*/ 0 w 15660"/>
                      <a:gd name="connsiteY0" fmla="*/ 0 h 2988"/>
                      <a:gd name="connsiteX1" fmla="*/ 15661 w 15660"/>
                      <a:gd name="connsiteY1" fmla="*/ 0 h 2988"/>
                      <a:gd name="connsiteX2" fmla="*/ 15661 w 15660"/>
                      <a:gd name="connsiteY2" fmla="*/ 2988 h 2988"/>
                      <a:gd name="connsiteX3" fmla="*/ 0 w 15660"/>
                      <a:gd name="connsiteY3" fmla="*/ 2988 h 2988"/>
                    </a:gdLst>
                    <a:ahLst/>
                    <a:cxnLst>
                      <a:cxn ang="0">
                        <a:pos x="connsiteX0" y="connsiteY0"/>
                      </a:cxn>
                      <a:cxn ang="0">
                        <a:pos x="connsiteX1" y="connsiteY1"/>
                      </a:cxn>
                      <a:cxn ang="0">
                        <a:pos x="connsiteX2" y="connsiteY2"/>
                      </a:cxn>
                      <a:cxn ang="0">
                        <a:pos x="connsiteX3" y="connsiteY3"/>
                      </a:cxn>
                    </a:cxnLst>
                    <a:rect l="l" t="t" r="r" b="b"/>
                    <a:pathLst>
                      <a:path w="15660" h="2988">
                        <a:moveTo>
                          <a:pt x="0" y="0"/>
                        </a:moveTo>
                        <a:lnTo>
                          <a:pt x="15661" y="0"/>
                        </a:lnTo>
                        <a:lnTo>
                          <a:pt x="15661" y="2988"/>
                        </a:lnTo>
                        <a:lnTo>
                          <a:pt x="0" y="2988"/>
                        </a:lnTo>
                        <a:close/>
                      </a:path>
                    </a:pathLst>
                  </a:custGeom>
                  <a:solidFill>
                    <a:srgbClr val="8DC441"/>
                  </a:solidFill>
                  <a:ln w="6471" cap="flat">
                    <a:noFill/>
                    <a:prstDash val="solid"/>
                    <a:miter/>
                  </a:ln>
                </p:spPr>
                <p:txBody>
                  <a:bodyPr rtlCol="0" anchor="ctr"/>
                  <a:lstStyle/>
                  <a:p>
                    <a:endParaRPr lang="en-AU"/>
                  </a:p>
                </p:txBody>
              </p:sp>
              <p:sp>
                <p:nvSpPr>
                  <p:cNvPr id="53" name="Freeform: Shape 52">
                    <a:extLst>
                      <a:ext uri="{FF2B5EF4-FFF2-40B4-BE49-F238E27FC236}">
                        <a16:creationId xmlns:a16="http://schemas.microsoft.com/office/drawing/2014/main" id="{0A7E7E68-6D12-4C6E-5C7D-36A94C9CCDF3}"/>
                      </a:ext>
                    </a:extLst>
                  </p:cNvPr>
                  <p:cNvSpPr/>
                  <p:nvPr/>
                </p:nvSpPr>
                <p:spPr>
                  <a:xfrm rot="-4561799">
                    <a:off x="4828502" y="6418534"/>
                    <a:ext cx="12346" cy="2988"/>
                  </a:xfrm>
                  <a:custGeom>
                    <a:avLst/>
                    <a:gdLst>
                      <a:gd name="connsiteX0" fmla="*/ 0 w 12346"/>
                      <a:gd name="connsiteY0" fmla="*/ 0 h 2988"/>
                      <a:gd name="connsiteX1" fmla="*/ 12347 w 12346"/>
                      <a:gd name="connsiteY1" fmla="*/ 0 h 2988"/>
                      <a:gd name="connsiteX2" fmla="*/ 12347 w 12346"/>
                      <a:gd name="connsiteY2" fmla="*/ 2988 h 2988"/>
                      <a:gd name="connsiteX3" fmla="*/ 0 w 12346"/>
                      <a:gd name="connsiteY3" fmla="*/ 2988 h 2988"/>
                    </a:gdLst>
                    <a:ahLst/>
                    <a:cxnLst>
                      <a:cxn ang="0">
                        <a:pos x="connsiteX0" y="connsiteY0"/>
                      </a:cxn>
                      <a:cxn ang="0">
                        <a:pos x="connsiteX1" y="connsiteY1"/>
                      </a:cxn>
                      <a:cxn ang="0">
                        <a:pos x="connsiteX2" y="connsiteY2"/>
                      </a:cxn>
                      <a:cxn ang="0">
                        <a:pos x="connsiteX3" y="connsiteY3"/>
                      </a:cxn>
                    </a:cxnLst>
                    <a:rect l="l" t="t" r="r" b="b"/>
                    <a:pathLst>
                      <a:path w="12346" h="2988">
                        <a:moveTo>
                          <a:pt x="0" y="0"/>
                        </a:moveTo>
                        <a:lnTo>
                          <a:pt x="12347" y="0"/>
                        </a:lnTo>
                        <a:lnTo>
                          <a:pt x="12347" y="2988"/>
                        </a:lnTo>
                        <a:lnTo>
                          <a:pt x="0" y="2988"/>
                        </a:lnTo>
                        <a:close/>
                      </a:path>
                    </a:pathLst>
                  </a:custGeom>
                  <a:solidFill>
                    <a:srgbClr val="8DC441"/>
                  </a:solidFill>
                  <a:ln w="6471" cap="flat">
                    <a:noFill/>
                    <a:prstDash val="solid"/>
                    <a:miter/>
                  </a:ln>
                </p:spPr>
                <p:txBody>
                  <a:bodyPr rtlCol="0" anchor="ctr"/>
                  <a:lstStyle/>
                  <a:p>
                    <a:endParaRPr lang="en-AU"/>
                  </a:p>
                </p:txBody>
              </p:sp>
              <p:sp>
                <p:nvSpPr>
                  <p:cNvPr id="54" name="Freeform: Shape 53">
                    <a:extLst>
                      <a:ext uri="{FF2B5EF4-FFF2-40B4-BE49-F238E27FC236}">
                        <a16:creationId xmlns:a16="http://schemas.microsoft.com/office/drawing/2014/main" id="{780D11B9-16DB-4036-D73B-907C15129C0D}"/>
                      </a:ext>
                    </a:extLst>
                  </p:cNvPr>
                  <p:cNvSpPr/>
                  <p:nvPr/>
                </p:nvSpPr>
                <p:spPr>
                  <a:xfrm rot="-2428800">
                    <a:off x="4773205" y="6466751"/>
                    <a:ext cx="2989" cy="23255"/>
                  </a:xfrm>
                  <a:custGeom>
                    <a:avLst/>
                    <a:gdLst>
                      <a:gd name="connsiteX0" fmla="*/ 0 w 2989"/>
                      <a:gd name="connsiteY0" fmla="*/ 0 h 23255"/>
                      <a:gd name="connsiteX1" fmla="*/ 2989 w 2989"/>
                      <a:gd name="connsiteY1" fmla="*/ 0 h 23255"/>
                      <a:gd name="connsiteX2" fmla="*/ 2989 w 2989"/>
                      <a:gd name="connsiteY2" fmla="*/ 23256 h 23255"/>
                      <a:gd name="connsiteX3" fmla="*/ 0 w 2989"/>
                      <a:gd name="connsiteY3" fmla="*/ 23256 h 23255"/>
                    </a:gdLst>
                    <a:ahLst/>
                    <a:cxnLst>
                      <a:cxn ang="0">
                        <a:pos x="connsiteX0" y="connsiteY0"/>
                      </a:cxn>
                      <a:cxn ang="0">
                        <a:pos x="connsiteX1" y="connsiteY1"/>
                      </a:cxn>
                      <a:cxn ang="0">
                        <a:pos x="connsiteX2" y="connsiteY2"/>
                      </a:cxn>
                      <a:cxn ang="0">
                        <a:pos x="connsiteX3" y="connsiteY3"/>
                      </a:cxn>
                    </a:cxnLst>
                    <a:rect l="l" t="t" r="r" b="b"/>
                    <a:pathLst>
                      <a:path w="2989" h="23255">
                        <a:moveTo>
                          <a:pt x="0" y="0"/>
                        </a:moveTo>
                        <a:lnTo>
                          <a:pt x="2989" y="0"/>
                        </a:lnTo>
                        <a:lnTo>
                          <a:pt x="2989" y="23256"/>
                        </a:lnTo>
                        <a:lnTo>
                          <a:pt x="0" y="23256"/>
                        </a:lnTo>
                        <a:close/>
                      </a:path>
                    </a:pathLst>
                  </a:custGeom>
                  <a:solidFill>
                    <a:srgbClr val="8DC441"/>
                  </a:solidFill>
                  <a:ln w="6471" cap="flat">
                    <a:noFill/>
                    <a:prstDash val="solid"/>
                    <a:miter/>
                  </a:ln>
                </p:spPr>
                <p:txBody>
                  <a:bodyPr rtlCol="0" anchor="ctr"/>
                  <a:lstStyle/>
                  <a:p>
                    <a:endParaRPr lang="en-AU"/>
                  </a:p>
                </p:txBody>
              </p:sp>
            </p:grpSp>
          </p:grpSp>
          <p:sp>
            <p:nvSpPr>
              <p:cNvPr id="40" name="Freeform: Shape 39">
                <a:extLst>
                  <a:ext uri="{FF2B5EF4-FFF2-40B4-BE49-F238E27FC236}">
                    <a16:creationId xmlns:a16="http://schemas.microsoft.com/office/drawing/2014/main" id="{56DADB47-474B-6AAE-DCF8-2625EF6E0507}"/>
                  </a:ext>
                </a:extLst>
              </p:cNvPr>
              <p:cNvSpPr/>
              <p:nvPr/>
            </p:nvSpPr>
            <p:spPr>
              <a:xfrm>
                <a:off x="4746143" y="6725798"/>
                <a:ext cx="125026" cy="73535"/>
              </a:xfrm>
              <a:custGeom>
                <a:avLst/>
                <a:gdLst>
                  <a:gd name="connsiteX0" fmla="*/ 0 w 125026"/>
                  <a:gd name="connsiteY0" fmla="*/ 0 h 73535"/>
                  <a:gd name="connsiteX1" fmla="*/ 125027 w 125026"/>
                  <a:gd name="connsiteY1" fmla="*/ 0 h 73535"/>
                  <a:gd name="connsiteX2" fmla="*/ 125027 w 125026"/>
                  <a:gd name="connsiteY2" fmla="*/ 73535 h 73535"/>
                  <a:gd name="connsiteX3" fmla="*/ 0 w 125026"/>
                  <a:gd name="connsiteY3" fmla="*/ 73535 h 73535"/>
                </a:gdLst>
                <a:ahLst/>
                <a:cxnLst>
                  <a:cxn ang="0">
                    <a:pos x="connsiteX0" y="connsiteY0"/>
                  </a:cxn>
                  <a:cxn ang="0">
                    <a:pos x="connsiteX1" y="connsiteY1"/>
                  </a:cxn>
                  <a:cxn ang="0">
                    <a:pos x="connsiteX2" y="connsiteY2"/>
                  </a:cxn>
                  <a:cxn ang="0">
                    <a:pos x="connsiteX3" y="connsiteY3"/>
                  </a:cxn>
                </a:cxnLst>
                <a:rect l="l" t="t" r="r" b="b"/>
                <a:pathLst>
                  <a:path w="125026" h="73535">
                    <a:moveTo>
                      <a:pt x="0" y="0"/>
                    </a:moveTo>
                    <a:lnTo>
                      <a:pt x="125027" y="0"/>
                    </a:lnTo>
                    <a:lnTo>
                      <a:pt x="125027" y="73535"/>
                    </a:lnTo>
                    <a:lnTo>
                      <a:pt x="0" y="73535"/>
                    </a:lnTo>
                    <a:close/>
                  </a:path>
                </a:pathLst>
              </a:custGeom>
              <a:solidFill>
                <a:srgbClr val="F25E21"/>
              </a:solidFill>
              <a:ln w="6471" cap="flat">
                <a:noFill/>
                <a:prstDash val="solid"/>
                <a:miter/>
              </a:ln>
            </p:spPr>
            <p:txBody>
              <a:bodyPr rtlCol="0" anchor="ctr"/>
              <a:lstStyle/>
              <a:p>
                <a:endParaRPr lang="en-AU"/>
              </a:p>
            </p:txBody>
          </p:sp>
        </p:grpSp>
        <p:grpSp>
          <p:nvGrpSpPr>
            <p:cNvPr id="13" name="Graphic 72">
              <a:extLst>
                <a:ext uri="{FF2B5EF4-FFF2-40B4-BE49-F238E27FC236}">
                  <a16:creationId xmlns:a16="http://schemas.microsoft.com/office/drawing/2014/main" id="{D7431687-F390-CA16-E8B8-63E5746C3E70}"/>
                </a:ext>
              </a:extLst>
            </p:cNvPr>
            <p:cNvGrpSpPr/>
            <p:nvPr/>
          </p:nvGrpSpPr>
          <p:grpSpPr>
            <a:xfrm flipH="1">
              <a:off x="3783294" y="6793877"/>
              <a:ext cx="1197308" cy="585295"/>
              <a:chOff x="3784918" y="6793877"/>
              <a:chExt cx="1197308" cy="585295"/>
            </a:xfrm>
            <a:solidFill>
              <a:srgbClr val="00264D"/>
            </a:solidFill>
          </p:grpSpPr>
          <p:grpSp>
            <p:nvGrpSpPr>
              <p:cNvPr id="35" name="Graphic 72">
                <a:extLst>
                  <a:ext uri="{FF2B5EF4-FFF2-40B4-BE49-F238E27FC236}">
                    <a16:creationId xmlns:a16="http://schemas.microsoft.com/office/drawing/2014/main" id="{90D98410-F4BD-0257-478C-49A63C570C48}"/>
                  </a:ext>
                </a:extLst>
              </p:cNvPr>
              <p:cNvGrpSpPr/>
              <p:nvPr/>
            </p:nvGrpSpPr>
            <p:grpSpPr>
              <a:xfrm>
                <a:off x="3797459" y="6805505"/>
                <a:ext cx="1172225" cy="573667"/>
                <a:chOff x="3797459" y="6805505"/>
                <a:chExt cx="1172225" cy="573667"/>
              </a:xfrm>
              <a:solidFill>
                <a:srgbClr val="00264D"/>
              </a:solidFill>
            </p:grpSpPr>
            <p:sp>
              <p:nvSpPr>
                <p:cNvPr id="37" name="Freeform: Shape 36">
                  <a:extLst>
                    <a:ext uri="{FF2B5EF4-FFF2-40B4-BE49-F238E27FC236}">
                      <a16:creationId xmlns:a16="http://schemas.microsoft.com/office/drawing/2014/main" id="{46A1F4C4-3E11-AB15-5EEA-2774EED77B79}"/>
                    </a:ext>
                  </a:extLst>
                </p:cNvPr>
                <p:cNvSpPr/>
                <p:nvPr/>
              </p:nvSpPr>
              <p:spPr>
                <a:xfrm>
                  <a:off x="4864152" y="6805505"/>
                  <a:ext cx="105532" cy="573667"/>
                </a:xfrm>
                <a:custGeom>
                  <a:avLst/>
                  <a:gdLst>
                    <a:gd name="connsiteX0" fmla="*/ 105532 w 105532"/>
                    <a:gd name="connsiteY0" fmla="*/ 573667 h 573667"/>
                    <a:gd name="connsiteX1" fmla="*/ 87012 w 105532"/>
                    <a:gd name="connsiteY1" fmla="*/ 573667 h 573667"/>
                    <a:gd name="connsiteX2" fmla="*/ 0 w 105532"/>
                    <a:gd name="connsiteY2" fmla="*/ 0 h 573667"/>
                    <a:gd name="connsiteX3" fmla="*/ 36000 w 105532"/>
                    <a:gd name="connsiteY3" fmla="*/ 0 h 573667"/>
                    <a:gd name="connsiteX4" fmla="*/ 105532 w 105532"/>
                    <a:gd name="connsiteY4" fmla="*/ 573667 h 573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32" h="573667">
                      <a:moveTo>
                        <a:pt x="105532" y="573667"/>
                      </a:moveTo>
                      <a:lnTo>
                        <a:pt x="87012" y="573667"/>
                      </a:lnTo>
                      <a:lnTo>
                        <a:pt x="0" y="0"/>
                      </a:lnTo>
                      <a:lnTo>
                        <a:pt x="36000" y="0"/>
                      </a:lnTo>
                      <a:lnTo>
                        <a:pt x="105532" y="573667"/>
                      </a:lnTo>
                      <a:close/>
                    </a:path>
                  </a:pathLst>
                </a:custGeom>
                <a:solidFill>
                  <a:srgbClr val="00264D"/>
                </a:solidFill>
                <a:ln w="6471" cap="flat">
                  <a:noFill/>
                  <a:prstDash val="solid"/>
                  <a:miter/>
                </a:ln>
              </p:spPr>
              <p:txBody>
                <a:bodyPr rtlCol="0" anchor="ctr"/>
                <a:lstStyle/>
                <a:p>
                  <a:endParaRPr lang="en-AU"/>
                </a:p>
              </p:txBody>
            </p:sp>
            <p:sp>
              <p:nvSpPr>
                <p:cNvPr id="38" name="Freeform: Shape 37">
                  <a:extLst>
                    <a:ext uri="{FF2B5EF4-FFF2-40B4-BE49-F238E27FC236}">
                      <a16:creationId xmlns:a16="http://schemas.microsoft.com/office/drawing/2014/main" id="{D2935191-2F6B-C5C7-E05C-FD08A8FAB5CA}"/>
                    </a:ext>
                  </a:extLst>
                </p:cNvPr>
                <p:cNvSpPr/>
                <p:nvPr/>
              </p:nvSpPr>
              <p:spPr>
                <a:xfrm>
                  <a:off x="3797459" y="6805505"/>
                  <a:ext cx="105532" cy="573667"/>
                </a:xfrm>
                <a:custGeom>
                  <a:avLst/>
                  <a:gdLst>
                    <a:gd name="connsiteX0" fmla="*/ 0 w 105532"/>
                    <a:gd name="connsiteY0" fmla="*/ 573667 h 573667"/>
                    <a:gd name="connsiteX1" fmla="*/ 18585 w 105532"/>
                    <a:gd name="connsiteY1" fmla="*/ 573667 h 573667"/>
                    <a:gd name="connsiteX2" fmla="*/ 105532 w 105532"/>
                    <a:gd name="connsiteY2" fmla="*/ 0 h 573667"/>
                    <a:gd name="connsiteX3" fmla="*/ 69532 w 105532"/>
                    <a:gd name="connsiteY3" fmla="*/ 0 h 573667"/>
                    <a:gd name="connsiteX4" fmla="*/ 0 w 105532"/>
                    <a:gd name="connsiteY4" fmla="*/ 573667 h 573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32" h="573667">
                      <a:moveTo>
                        <a:pt x="0" y="573667"/>
                      </a:moveTo>
                      <a:lnTo>
                        <a:pt x="18585" y="573667"/>
                      </a:lnTo>
                      <a:lnTo>
                        <a:pt x="105532" y="0"/>
                      </a:lnTo>
                      <a:lnTo>
                        <a:pt x="69532" y="0"/>
                      </a:lnTo>
                      <a:lnTo>
                        <a:pt x="0" y="573667"/>
                      </a:lnTo>
                      <a:close/>
                    </a:path>
                  </a:pathLst>
                </a:custGeom>
                <a:solidFill>
                  <a:srgbClr val="00264D"/>
                </a:solidFill>
                <a:ln w="6471" cap="flat">
                  <a:noFill/>
                  <a:prstDash val="solid"/>
                  <a:miter/>
                </a:ln>
              </p:spPr>
              <p:txBody>
                <a:bodyPr rtlCol="0" anchor="ctr"/>
                <a:lstStyle/>
                <a:p>
                  <a:endParaRPr lang="en-AU"/>
                </a:p>
              </p:txBody>
            </p:sp>
          </p:grpSp>
          <p:sp>
            <p:nvSpPr>
              <p:cNvPr id="36" name="Freeform: Shape 35">
                <a:extLst>
                  <a:ext uri="{FF2B5EF4-FFF2-40B4-BE49-F238E27FC236}">
                    <a16:creationId xmlns:a16="http://schemas.microsoft.com/office/drawing/2014/main" id="{CB64059A-071B-4D55-17DB-4778F69FC796}"/>
                  </a:ext>
                </a:extLst>
              </p:cNvPr>
              <p:cNvSpPr/>
              <p:nvPr/>
            </p:nvSpPr>
            <p:spPr>
              <a:xfrm>
                <a:off x="3784918" y="6793877"/>
                <a:ext cx="1197308" cy="23320"/>
              </a:xfrm>
              <a:custGeom>
                <a:avLst/>
                <a:gdLst>
                  <a:gd name="connsiteX0" fmla="*/ 0 w 1197308"/>
                  <a:gd name="connsiteY0" fmla="*/ 0 h 23320"/>
                  <a:gd name="connsiteX1" fmla="*/ 1197309 w 1197308"/>
                  <a:gd name="connsiteY1" fmla="*/ 0 h 23320"/>
                  <a:gd name="connsiteX2" fmla="*/ 1197309 w 1197308"/>
                  <a:gd name="connsiteY2" fmla="*/ 23321 h 23320"/>
                  <a:gd name="connsiteX3" fmla="*/ 0 w 1197308"/>
                  <a:gd name="connsiteY3" fmla="*/ 23321 h 23320"/>
                </a:gdLst>
                <a:ahLst/>
                <a:cxnLst>
                  <a:cxn ang="0">
                    <a:pos x="connsiteX0" y="connsiteY0"/>
                  </a:cxn>
                  <a:cxn ang="0">
                    <a:pos x="connsiteX1" y="connsiteY1"/>
                  </a:cxn>
                  <a:cxn ang="0">
                    <a:pos x="connsiteX2" y="connsiteY2"/>
                  </a:cxn>
                  <a:cxn ang="0">
                    <a:pos x="connsiteX3" y="connsiteY3"/>
                  </a:cxn>
                </a:cxnLst>
                <a:rect l="l" t="t" r="r" b="b"/>
                <a:pathLst>
                  <a:path w="1197308" h="23320">
                    <a:moveTo>
                      <a:pt x="0" y="0"/>
                    </a:moveTo>
                    <a:lnTo>
                      <a:pt x="1197309" y="0"/>
                    </a:lnTo>
                    <a:lnTo>
                      <a:pt x="1197309" y="23321"/>
                    </a:lnTo>
                    <a:lnTo>
                      <a:pt x="0" y="23321"/>
                    </a:lnTo>
                    <a:close/>
                  </a:path>
                </a:pathLst>
              </a:custGeom>
              <a:solidFill>
                <a:srgbClr val="00264D"/>
              </a:solidFill>
              <a:ln w="6471" cap="flat">
                <a:noFill/>
                <a:prstDash val="solid"/>
                <a:miter/>
              </a:ln>
            </p:spPr>
            <p:txBody>
              <a:bodyPr rtlCol="0" anchor="ctr"/>
              <a:lstStyle/>
              <a:p>
                <a:endParaRPr lang="en-AU"/>
              </a:p>
            </p:txBody>
          </p:sp>
        </p:grpSp>
        <p:grpSp>
          <p:nvGrpSpPr>
            <p:cNvPr id="14" name="Graphic 72">
              <a:extLst>
                <a:ext uri="{FF2B5EF4-FFF2-40B4-BE49-F238E27FC236}">
                  <a16:creationId xmlns:a16="http://schemas.microsoft.com/office/drawing/2014/main" id="{11C84A27-64A1-AA24-733A-722F76750E89}"/>
                </a:ext>
              </a:extLst>
            </p:cNvPr>
            <p:cNvGrpSpPr/>
            <p:nvPr/>
          </p:nvGrpSpPr>
          <p:grpSpPr>
            <a:xfrm flipH="1">
              <a:off x="4101297" y="6258808"/>
              <a:ext cx="422304" cy="1139397"/>
              <a:chOff x="4241919" y="6258808"/>
              <a:chExt cx="422304" cy="1139397"/>
            </a:xfrm>
          </p:grpSpPr>
          <p:sp>
            <p:nvSpPr>
              <p:cNvPr id="21" name="Freeform: Shape 20">
                <a:extLst>
                  <a:ext uri="{FF2B5EF4-FFF2-40B4-BE49-F238E27FC236}">
                    <a16:creationId xmlns:a16="http://schemas.microsoft.com/office/drawing/2014/main" id="{1D2A00C9-0A4A-E4A9-8783-2831D234163B}"/>
                  </a:ext>
                </a:extLst>
              </p:cNvPr>
              <p:cNvSpPr/>
              <p:nvPr/>
            </p:nvSpPr>
            <p:spPr>
              <a:xfrm>
                <a:off x="4369719" y="6273094"/>
                <a:ext cx="119543" cy="183637"/>
              </a:xfrm>
              <a:custGeom>
                <a:avLst/>
                <a:gdLst>
                  <a:gd name="connsiteX0" fmla="*/ 74514 w 119543"/>
                  <a:gd name="connsiteY0" fmla="*/ 2332 h 183637"/>
                  <a:gd name="connsiteX1" fmla="*/ 5242 w 119543"/>
                  <a:gd name="connsiteY1" fmla="*/ 44557 h 183637"/>
                  <a:gd name="connsiteX2" fmla="*/ 13105 w 119543"/>
                  <a:gd name="connsiteY2" fmla="*/ 134657 h 183637"/>
                  <a:gd name="connsiteX3" fmla="*/ 54239 w 119543"/>
                  <a:gd name="connsiteY3" fmla="*/ 134657 h 183637"/>
                  <a:gd name="connsiteX4" fmla="*/ 45012 w 119543"/>
                  <a:gd name="connsiteY4" fmla="*/ 183637 h 183637"/>
                  <a:gd name="connsiteX5" fmla="*/ 107200 w 119543"/>
                  <a:gd name="connsiteY5" fmla="*/ 170905 h 183637"/>
                  <a:gd name="connsiteX6" fmla="*/ 97388 w 119543"/>
                  <a:gd name="connsiteY6" fmla="*/ 119002 h 183637"/>
                  <a:gd name="connsiteX7" fmla="*/ 74514 w 119543"/>
                  <a:gd name="connsiteY7" fmla="*/ 2332 h 18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543" h="183637">
                    <a:moveTo>
                      <a:pt x="74514" y="2332"/>
                    </a:moveTo>
                    <a:cubicBezTo>
                      <a:pt x="48521" y="-4229"/>
                      <a:pt x="12650" y="1033"/>
                      <a:pt x="5242" y="44557"/>
                    </a:cubicBezTo>
                    <a:cubicBezTo>
                      <a:pt x="44" y="75023"/>
                      <a:pt x="-6130" y="127966"/>
                      <a:pt x="13105" y="134657"/>
                    </a:cubicBezTo>
                    <a:cubicBezTo>
                      <a:pt x="21618" y="137645"/>
                      <a:pt x="54239" y="134657"/>
                      <a:pt x="54239" y="134657"/>
                    </a:cubicBezTo>
                    <a:lnTo>
                      <a:pt x="45012" y="183637"/>
                    </a:lnTo>
                    <a:lnTo>
                      <a:pt x="107200" y="170905"/>
                    </a:lnTo>
                    <a:lnTo>
                      <a:pt x="97388" y="119002"/>
                    </a:lnTo>
                    <a:cubicBezTo>
                      <a:pt x="97388" y="119002"/>
                      <a:pt x="160096" y="23964"/>
                      <a:pt x="74514" y="2332"/>
                    </a:cubicBezTo>
                    <a:close/>
                  </a:path>
                </a:pathLst>
              </a:custGeom>
              <a:solidFill>
                <a:srgbClr val="E2857E"/>
              </a:solidFill>
              <a:ln w="6471" cap="flat">
                <a:noFill/>
                <a:prstDash val="solid"/>
                <a:miter/>
              </a:ln>
            </p:spPr>
            <p:txBody>
              <a:bodyPr rtlCol="0" anchor="ctr"/>
              <a:lstStyle/>
              <a:p>
                <a:endParaRPr lang="en-AU"/>
              </a:p>
            </p:txBody>
          </p:sp>
          <p:sp>
            <p:nvSpPr>
              <p:cNvPr id="22" name="Freeform: Shape 21">
                <a:extLst>
                  <a:ext uri="{FF2B5EF4-FFF2-40B4-BE49-F238E27FC236}">
                    <a16:creationId xmlns:a16="http://schemas.microsoft.com/office/drawing/2014/main" id="{2A277B6F-5B28-8C0E-4815-917C44C23D0E}"/>
                  </a:ext>
                </a:extLst>
              </p:cNvPr>
              <p:cNvSpPr/>
              <p:nvPr/>
            </p:nvSpPr>
            <p:spPr>
              <a:xfrm>
                <a:off x="4528581" y="6487458"/>
                <a:ext cx="135643" cy="375277"/>
              </a:xfrm>
              <a:custGeom>
                <a:avLst/>
                <a:gdLst>
                  <a:gd name="connsiteX0" fmla="*/ 8318 w 135643"/>
                  <a:gd name="connsiteY0" fmla="*/ 0 h 375277"/>
                  <a:gd name="connsiteX1" fmla="*/ 134125 w 135643"/>
                  <a:gd name="connsiteY1" fmla="*/ 244512 h 375277"/>
                  <a:gd name="connsiteX2" fmla="*/ 0 w 135643"/>
                  <a:gd name="connsiteY2" fmla="*/ 375277 h 375277"/>
                  <a:gd name="connsiteX3" fmla="*/ 8383 w 135643"/>
                  <a:gd name="connsiteY3" fmla="*/ 0 h 375277"/>
                </a:gdLst>
                <a:ahLst/>
                <a:cxnLst>
                  <a:cxn ang="0">
                    <a:pos x="connsiteX0" y="connsiteY0"/>
                  </a:cxn>
                  <a:cxn ang="0">
                    <a:pos x="connsiteX1" y="connsiteY1"/>
                  </a:cxn>
                  <a:cxn ang="0">
                    <a:pos x="connsiteX2" y="connsiteY2"/>
                  </a:cxn>
                  <a:cxn ang="0">
                    <a:pos x="connsiteX3" y="connsiteY3"/>
                  </a:cxn>
                </a:cxnLst>
                <a:rect l="l" t="t" r="r" b="b"/>
                <a:pathLst>
                  <a:path w="135643" h="375277">
                    <a:moveTo>
                      <a:pt x="8318" y="0"/>
                    </a:moveTo>
                    <a:cubicBezTo>
                      <a:pt x="8318" y="0"/>
                      <a:pt x="151865" y="192024"/>
                      <a:pt x="134125" y="244512"/>
                    </a:cubicBezTo>
                    <a:cubicBezTo>
                      <a:pt x="111186" y="312201"/>
                      <a:pt x="0" y="375277"/>
                      <a:pt x="0" y="375277"/>
                    </a:cubicBezTo>
                    <a:lnTo>
                      <a:pt x="8383" y="0"/>
                    </a:lnTo>
                    <a:close/>
                  </a:path>
                </a:pathLst>
              </a:custGeom>
              <a:solidFill>
                <a:srgbClr val="2C72B5"/>
              </a:solidFill>
              <a:ln w="6471" cap="flat">
                <a:noFill/>
                <a:prstDash val="solid"/>
                <a:miter/>
              </a:ln>
            </p:spPr>
            <p:txBody>
              <a:bodyPr rtlCol="0" anchor="ctr"/>
              <a:lstStyle/>
              <a:p>
                <a:endParaRPr lang="en-AU"/>
              </a:p>
            </p:txBody>
          </p:sp>
          <p:grpSp>
            <p:nvGrpSpPr>
              <p:cNvPr id="23" name="Graphic 72">
                <a:extLst>
                  <a:ext uri="{FF2B5EF4-FFF2-40B4-BE49-F238E27FC236}">
                    <a16:creationId xmlns:a16="http://schemas.microsoft.com/office/drawing/2014/main" id="{D6C44FB0-09B5-4F71-D1CD-B69409FAD6FE}"/>
                  </a:ext>
                </a:extLst>
              </p:cNvPr>
              <p:cNvGrpSpPr/>
              <p:nvPr/>
            </p:nvGrpSpPr>
            <p:grpSpPr>
              <a:xfrm>
                <a:off x="4241919" y="6435459"/>
                <a:ext cx="329126" cy="962746"/>
                <a:chOff x="4241919" y="6435459"/>
                <a:chExt cx="329126" cy="962746"/>
              </a:xfrm>
            </p:grpSpPr>
            <p:grpSp>
              <p:nvGrpSpPr>
                <p:cNvPr id="25" name="Graphic 72">
                  <a:extLst>
                    <a:ext uri="{FF2B5EF4-FFF2-40B4-BE49-F238E27FC236}">
                      <a16:creationId xmlns:a16="http://schemas.microsoft.com/office/drawing/2014/main" id="{1F10B570-CB1C-C320-12C9-539C62039029}"/>
                    </a:ext>
                  </a:extLst>
                </p:cNvPr>
                <p:cNvGrpSpPr/>
                <p:nvPr/>
              </p:nvGrpSpPr>
              <p:grpSpPr>
                <a:xfrm>
                  <a:off x="4441829" y="6741770"/>
                  <a:ext cx="106116" cy="651888"/>
                  <a:chOff x="4441829" y="6741770"/>
                  <a:chExt cx="106116" cy="651888"/>
                </a:xfrm>
              </p:grpSpPr>
              <p:sp>
                <p:nvSpPr>
                  <p:cNvPr id="33" name="Freeform: Shape 32">
                    <a:extLst>
                      <a:ext uri="{FF2B5EF4-FFF2-40B4-BE49-F238E27FC236}">
                        <a16:creationId xmlns:a16="http://schemas.microsoft.com/office/drawing/2014/main" id="{C481576E-82E0-F2A4-18DB-FCA8E40D91CD}"/>
                      </a:ext>
                    </a:extLst>
                  </p:cNvPr>
                  <p:cNvSpPr/>
                  <p:nvPr/>
                </p:nvSpPr>
                <p:spPr>
                  <a:xfrm>
                    <a:off x="4441829" y="6741770"/>
                    <a:ext cx="106116" cy="612262"/>
                  </a:xfrm>
                  <a:custGeom>
                    <a:avLst/>
                    <a:gdLst>
                      <a:gd name="connsiteX0" fmla="*/ 106117 w 106116"/>
                      <a:gd name="connsiteY0" fmla="*/ 35932 h 612262"/>
                      <a:gd name="connsiteX1" fmla="*/ 86557 w 106116"/>
                      <a:gd name="connsiteY1" fmla="*/ 264593 h 612262"/>
                      <a:gd name="connsiteX2" fmla="*/ 85647 w 106116"/>
                      <a:gd name="connsiteY2" fmla="*/ 537428 h 612262"/>
                      <a:gd name="connsiteX3" fmla="*/ 82983 w 106116"/>
                      <a:gd name="connsiteY3" fmla="*/ 596347 h 612262"/>
                      <a:gd name="connsiteX4" fmla="*/ 50232 w 106116"/>
                      <a:gd name="connsiteY4" fmla="*/ 612263 h 612262"/>
                      <a:gd name="connsiteX5" fmla="*/ 0 w 106116"/>
                      <a:gd name="connsiteY5" fmla="*/ 8779 h 612262"/>
                      <a:gd name="connsiteX6" fmla="*/ 106117 w 106116"/>
                      <a:gd name="connsiteY6" fmla="*/ 35932 h 612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116" h="612262">
                        <a:moveTo>
                          <a:pt x="106117" y="35932"/>
                        </a:moveTo>
                        <a:cubicBezTo>
                          <a:pt x="106117" y="35932"/>
                          <a:pt x="91626" y="135517"/>
                          <a:pt x="86557" y="264593"/>
                        </a:cubicBezTo>
                        <a:cubicBezTo>
                          <a:pt x="82138" y="377755"/>
                          <a:pt x="106117" y="378274"/>
                          <a:pt x="85647" y="537428"/>
                        </a:cubicBezTo>
                        <a:lnTo>
                          <a:pt x="82983" y="596347"/>
                        </a:lnTo>
                        <a:lnTo>
                          <a:pt x="50232" y="612263"/>
                        </a:lnTo>
                        <a:cubicBezTo>
                          <a:pt x="50232" y="612263"/>
                          <a:pt x="42499" y="433101"/>
                          <a:pt x="0" y="8779"/>
                        </a:cubicBezTo>
                        <a:cubicBezTo>
                          <a:pt x="0" y="8779"/>
                          <a:pt x="82333" y="-23572"/>
                          <a:pt x="106117" y="35932"/>
                        </a:cubicBezTo>
                        <a:close/>
                      </a:path>
                    </a:pathLst>
                  </a:custGeom>
                  <a:solidFill>
                    <a:srgbClr val="E2857E"/>
                  </a:solidFill>
                  <a:ln w="6471" cap="flat">
                    <a:noFill/>
                    <a:prstDash val="solid"/>
                    <a:miter/>
                  </a:ln>
                </p:spPr>
                <p:txBody>
                  <a:bodyPr rtlCol="0" anchor="ctr"/>
                  <a:lstStyle/>
                  <a:p>
                    <a:endParaRPr lang="en-AU"/>
                  </a:p>
                </p:txBody>
              </p:sp>
              <p:sp>
                <p:nvSpPr>
                  <p:cNvPr id="34" name="Freeform: Shape 33">
                    <a:extLst>
                      <a:ext uri="{FF2B5EF4-FFF2-40B4-BE49-F238E27FC236}">
                        <a16:creationId xmlns:a16="http://schemas.microsoft.com/office/drawing/2014/main" id="{BA17388B-B4B0-0C78-DBDD-51C7B98BC6EE}"/>
                      </a:ext>
                    </a:extLst>
                  </p:cNvPr>
                  <p:cNvSpPr/>
                  <p:nvPr/>
                </p:nvSpPr>
                <p:spPr>
                  <a:xfrm>
                    <a:off x="4480169" y="7332400"/>
                    <a:ext cx="59069" cy="61257"/>
                  </a:xfrm>
                  <a:custGeom>
                    <a:avLst/>
                    <a:gdLst>
                      <a:gd name="connsiteX0" fmla="*/ 0 w 59069"/>
                      <a:gd name="connsiteY0" fmla="*/ 61258 h 61257"/>
                      <a:gd name="connsiteX1" fmla="*/ 59069 w 59069"/>
                      <a:gd name="connsiteY1" fmla="*/ 61258 h 61257"/>
                      <a:gd name="connsiteX2" fmla="*/ 59069 w 59069"/>
                      <a:gd name="connsiteY2" fmla="*/ 45278 h 61257"/>
                      <a:gd name="connsiteX3" fmla="*/ 48282 w 59069"/>
                      <a:gd name="connsiteY3" fmla="*/ 0 h 61257"/>
                      <a:gd name="connsiteX4" fmla="*/ 10267 w 59069"/>
                      <a:gd name="connsiteY4" fmla="*/ 0 h 61257"/>
                      <a:gd name="connsiteX5" fmla="*/ 0 w 59069"/>
                      <a:gd name="connsiteY5" fmla="*/ 45278 h 61257"/>
                      <a:gd name="connsiteX6" fmla="*/ 0 w 59069"/>
                      <a:gd name="connsiteY6" fmla="*/ 61258 h 61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069" h="61257">
                        <a:moveTo>
                          <a:pt x="0" y="61258"/>
                        </a:moveTo>
                        <a:lnTo>
                          <a:pt x="59069" y="61258"/>
                        </a:lnTo>
                        <a:lnTo>
                          <a:pt x="59069" y="45278"/>
                        </a:lnTo>
                        <a:lnTo>
                          <a:pt x="48282" y="0"/>
                        </a:lnTo>
                        <a:lnTo>
                          <a:pt x="10267" y="0"/>
                        </a:lnTo>
                        <a:lnTo>
                          <a:pt x="0" y="45278"/>
                        </a:lnTo>
                        <a:lnTo>
                          <a:pt x="0" y="61258"/>
                        </a:lnTo>
                        <a:close/>
                      </a:path>
                    </a:pathLst>
                  </a:custGeom>
                  <a:solidFill>
                    <a:schemeClr val="bg2"/>
                  </a:solidFill>
                  <a:ln w="6471" cap="flat">
                    <a:noFill/>
                    <a:prstDash val="solid"/>
                    <a:miter/>
                  </a:ln>
                </p:spPr>
                <p:txBody>
                  <a:bodyPr rtlCol="0" anchor="ctr"/>
                  <a:lstStyle/>
                  <a:p>
                    <a:endParaRPr lang="en-AU"/>
                  </a:p>
                </p:txBody>
              </p:sp>
            </p:grpSp>
            <p:grpSp>
              <p:nvGrpSpPr>
                <p:cNvPr id="26" name="Graphic 72">
                  <a:extLst>
                    <a:ext uri="{FF2B5EF4-FFF2-40B4-BE49-F238E27FC236}">
                      <a16:creationId xmlns:a16="http://schemas.microsoft.com/office/drawing/2014/main" id="{E0B50057-B57E-5720-4CD3-56300D784281}"/>
                    </a:ext>
                  </a:extLst>
                </p:cNvPr>
                <p:cNvGrpSpPr/>
                <p:nvPr/>
              </p:nvGrpSpPr>
              <p:grpSpPr>
                <a:xfrm>
                  <a:off x="4316967" y="6938724"/>
                  <a:ext cx="149230" cy="459481"/>
                  <a:chOff x="4316967" y="6938724"/>
                  <a:chExt cx="149230" cy="459481"/>
                </a:xfrm>
              </p:grpSpPr>
              <p:sp>
                <p:nvSpPr>
                  <p:cNvPr id="31" name="Freeform: Shape 30">
                    <a:extLst>
                      <a:ext uri="{FF2B5EF4-FFF2-40B4-BE49-F238E27FC236}">
                        <a16:creationId xmlns:a16="http://schemas.microsoft.com/office/drawing/2014/main" id="{35FCE9B4-C038-D412-04B6-2137023A8C16}"/>
                      </a:ext>
                    </a:extLst>
                  </p:cNvPr>
                  <p:cNvSpPr/>
                  <p:nvPr/>
                </p:nvSpPr>
                <p:spPr>
                  <a:xfrm>
                    <a:off x="4316967" y="6938724"/>
                    <a:ext cx="127981" cy="409721"/>
                  </a:xfrm>
                  <a:custGeom>
                    <a:avLst/>
                    <a:gdLst>
                      <a:gd name="connsiteX0" fmla="*/ 8933 w 127981"/>
                      <a:gd name="connsiteY0" fmla="*/ 81021 h 409721"/>
                      <a:gd name="connsiteX1" fmla="*/ 75605 w 127981"/>
                      <a:gd name="connsiteY1" fmla="*/ 345606 h 409721"/>
                      <a:gd name="connsiteX2" fmla="*/ 92370 w 127981"/>
                      <a:gd name="connsiteY2" fmla="*/ 402187 h 409721"/>
                      <a:gd name="connsiteX3" fmla="*/ 127981 w 127981"/>
                      <a:gd name="connsiteY3" fmla="*/ 409722 h 409721"/>
                      <a:gd name="connsiteX4" fmla="*/ 69432 w 127981"/>
                      <a:gd name="connsiteY4" fmla="*/ 66665 h 409721"/>
                      <a:gd name="connsiteX5" fmla="*/ 8803 w 127981"/>
                      <a:gd name="connsiteY5" fmla="*/ 81021 h 409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981" h="409721">
                        <a:moveTo>
                          <a:pt x="8933" y="81021"/>
                        </a:moveTo>
                        <a:cubicBezTo>
                          <a:pt x="40514" y="189765"/>
                          <a:pt x="17380" y="196067"/>
                          <a:pt x="75605" y="345606"/>
                        </a:cubicBezTo>
                        <a:lnTo>
                          <a:pt x="92370" y="402187"/>
                        </a:lnTo>
                        <a:lnTo>
                          <a:pt x="127981" y="409722"/>
                        </a:lnTo>
                        <a:cubicBezTo>
                          <a:pt x="127981" y="409722"/>
                          <a:pt x="106927" y="306045"/>
                          <a:pt x="69432" y="66665"/>
                        </a:cubicBezTo>
                        <a:cubicBezTo>
                          <a:pt x="58125" y="-5571"/>
                          <a:pt x="-27198" y="-42988"/>
                          <a:pt x="8803" y="81021"/>
                        </a:cubicBezTo>
                        <a:close/>
                      </a:path>
                    </a:pathLst>
                  </a:custGeom>
                  <a:solidFill>
                    <a:srgbClr val="E2857E"/>
                  </a:solidFill>
                  <a:ln w="6471" cap="flat">
                    <a:noFill/>
                    <a:prstDash val="solid"/>
                    <a:miter/>
                  </a:ln>
                </p:spPr>
                <p:txBody>
                  <a:bodyPr rtlCol="0" anchor="ctr"/>
                  <a:lstStyle/>
                  <a:p>
                    <a:endParaRPr lang="en-AU"/>
                  </a:p>
                </p:txBody>
              </p:sp>
              <p:sp>
                <p:nvSpPr>
                  <p:cNvPr id="32" name="Freeform: Shape 31">
                    <a:extLst>
                      <a:ext uri="{FF2B5EF4-FFF2-40B4-BE49-F238E27FC236}">
                        <a16:creationId xmlns:a16="http://schemas.microsoft.com/office/drawing/2014/main" id="{51B26940-7BF7-D661-3861-FC0FE95A40F0}"/>
                      </a:ext>
                    </a:extLst>
                  </p:cNvPr>
                  <p:cNvSpPr/>
                  <p:nvPr/>
                </p:nvSpPr>
                <p:spPr>
                  <a:xfrm>
                    <a:off x="4404594" y="7327009"/>
                    <a:ext cx="61603" cy="71196"/>
                  </a:xfrm>
                  <a:custGeom>
                    <a:avLst/>
                    <a:gdLst>
                      <a:gd name="connsiteX0" fmla="*/ 61604 w 61603"/>
                      <a:gd name="connsiteY0" fmla="*/ 56970 h 71196"/>
                      <a:gd name="connsiteX1" fmla="*/ 4289 w 61603"/>
                      <a:gd name="connsiteY1" fmla="*/ 71197 h 71196"/>
                      <a:gd name="connsiteX2" fmla="*/ 455 w 61603"/>
                      <a:gd name="connsiteY2" fmla="*/ 55671 h 71196"/>
                      <a:gd name="connsiteX3" fmla="*/ 0 w 61603"/>
                      <a:gd name="connsiteY3" fmla="*/ 9159 h 71196"/>
                      <a:gd name="connsiteX4" fmla="*/ 36845 w 61603"/>
                      <a:gd name="connsiteY4" fmla="*/ 0 h 71196"/>
                      <a:gd name="connsiteX5" fmla="*/ 57770 w 61603"/>
                      <a:gd name="connsiteY5" fmla="*/ 41445 h 71196"/>
                      <a:gd name="connsiteX6" fmla="*/ 61604 w 61603"/>
                      <a:gd name="connsiteY6" fmla="*/ 56970 h 71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603" h="71196">
                        <a:moveTo>
                          <a:pt x="61604" y="56970"/>
                        </a:moveTo>
                        <a:lnTo>
                          <a:pt x="4289" y="71197"/>
                        </a:lnTo>
                        <a:lnTo>
                          <a:pt x="455" y="55671"/>
                        </a:lnTo>
                        <a:lnTo>
                          <a:pt x="0" y="9159"/>
                        </a:lnTo>
                        <a:lnTo>
                          <a:pt x="36845" y="0"/>
                        </a:lnTo>
                        <a:lnTo>
                          <a:pt x="57770" y="41445"/>
                        </a:lnTo>
                        <a:lnTo>
                          <a:pt x="61604" y="56970"/>
                        </a:lnTo>
                        <a:close/>
                      </a:path>
                    </a:pathLst>
                  </a:custGeom>
                  <a:solidFill>
                    <a:schemeClr val="bg2"/>
                  </a:solidFill>
                  <a:ln w="6471" cap="flat">
                    <a:noFill/>
                    <a:prstDash val="solid"/>
                    <a:miter/>
                  </a:ln>
                </p:spPr>
                <p:txBody>
                  <a:bodyPr rtlCol="0" anchor="ctr"/>
                  <a:lstStyle/>
                  <a:p>
                    <a:endParaRPr lang="en-AU"/>
                  </a:p>
                </p:txBody>
              </p:sp>
            </p:grpSp>
            <p:grpSp>
              <p:nvGrpSpPr>
                <p:cNvPr id="27" name="Graphic 72">
                  <a:extLst>
                    <a:ext uri="{FF2B5EF4-FFF2-40B4-BE49-F238E27FC236}">
                      <a16:creationId xmlns:a16="http://schemas.microsoft.com/office/drawing/2014/main" id="{9961E540-AB55-8167-662E-51C0AC84EF0C}"/>
                    </a:ext>
                  </a:extLst>
                </p:cNvPr>
                <p:cNvGrpSpPr/>
                <p:nvPr/>
              </p:nvGrpSpPr>
              <p:grpSpPr>
                <a:xfrm>
                  <a:off x="4241919" y="6451210"/>
                  <a:ext cx="139103" cy="474797"/>
                  <a:chOff x="4241919" y="6451210"/>
                  <a:chExt cx="139103" cy="474797"/>
                </a:xfrm>
              </p:grpSpPr>
              <p:sp>
                <p:nvSpPr>
                  <p:cNvPr id="29" name="Freeform: Shape 28">
                    <a:extLst>
                      <a:ext uri="{FF2B5EF4-FFF2-40B4-BE49-F238E27FC236}">
                        <a16:creationId xmlns:a16="http://schemas.microsoft.com/office/drawing/2014/main" id="{B5530541-AA7C-7D1E-C710-8FD85DB018D2}"/>
                      </a:ext>
                    </a:extLst>
                  </p:cNvPr>
                  <p:cNvSpPr/>
                  <p:nvPr/>
                </p:nvSpPr>
                <p:spPr>
                  <a:xfrm>
                    <a:off x="4260072" y="6892682"/>
                    <a:ext cx="31256" cy="33324"/>
                  </a:xfrm>
                  <a:custGeom>
                    <a:avLst/>
                    <a:gdLst>
                      <a:gd name="connsiteX0" fmla="*/ 31257 w 31256"/>
                      <a:gd name="connsiteY0" fmla="*/ 1104 h 33324"/>
                      <a:gd name="connsiteX1" fmla="*/ 22354 w 31256"/>
                      <a:gd name="connsiteY1" fmla="*/ 33325 h 33324"/>
                      <a:gd name="connsiteX2" fmla="*/ 455 w 31256"/>
                      <a:gd name="connsiteY2" fmla="*/ 30142 h 33324"/>
                      <a:gd name="connsiteX3" fmla="*/ 0 w 31256"/>
                      <a:gd name="connsiteY3" fmla="*/ 0 h 33324"/>
                      <a:gd name="connsiteX4" fmla="*/ 31257 w 31256"/>
                      <a:gd name="connsiteY4" fmla="*/ 1104 h 333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56" h="33324">
                        <a:moveTo>
                          <a:pt x="31257" y="1104"/>
                        </a:moveTo>
                        <a:lnTo>
                          <a:pt x="22354" y="33325"/>
                        </a:lnTo>
                        <a:lnTo>
                          <a:pt x="455" y="30142"/>
                        </a:lnTo>
                        <a:lnTo>
                          <a:pt x="0" y="0"/>
                        </a:lnTo>
                        <a:lnTo>
                          <a:pt x="31257" y="1104"/>
                        </a:lnTo>
                        <a:close/>
                      </a:path>
                    </a:pathLst>
                  </a:custGeom>
                  <a:solidFill>
                    <a:srgbClr val="E2857E"/>
                  </a:solidFill>
                  <a:ln w="6471" cap="flat">
                    <a:noFill/>
                    <a:prstDash val="solid"/>
                    <a:miter/>
                  </a:ln>
                </p:spPr>
                <p:txBody>
                  <a:bodyPr rtlCol="0" anchor="ctr"/>
                  <a:lstStyle/>
                  <a:p>
                    <a:endParaRPr lang="en-AU"/>
                  </a:p>
                </p:txBody>
              </p:sp>
              <p:sp>
                <p:nvSpPr>
                  <p:cNvPr id="30" name="Freeform: Shape 29">
                    <a:extLst>
                      <a:ext uri="{FF2B5EF4-FFF2-40B4-BE49-F238E27FC236}">
                        <a16:creationId xmlns:a16="http://schemas.microsoft.com/office/drawing/2014/main" id="{39A437DB-6DCE-B5A8-D2A0-41427B15AC9F}"/>
                      </a:ext>
                    </a:extLst>
                  </p:cNvPr>
                  <p:cNvSpPr/>
                  <p:nvPr/>
                </p:nvSpPr>
                <p:spPr>
                  <a:xfrm>
                    <a:off x="4241919" y="6451210"/>
                    <a:ext cx="139103" cy="453100"/>
                  </a:xfrm>
                  <a:custGeom>
                    <a:avLst/>
                    <a:gdLst>
                      <a:gd name="connsiteX0" fmla="*/ 132067 w 139103"/>
                      <a:gd name="connsiteY0" fmla="*/ 65 h 453100"/>
                      <a:gd name="connsiteX1" fmla="*/ 2037 w 139103"/>
                      <a:gd name="connsiteY1" fmla="*/ 288035 h 453100"/>
                      <a:gd name="connsiteX2" fmla="*/ 33748 w 139103"/>
                      <a:gd name="connsiteY2" fmla="*/ 452905 h 453100"/>
                      <a:gd name="connsiteX3" fmla="*/ 49799 w 139103"/>
                      <a:gd name="connsiteY3" fmla="*/ 453100 h 453100"/>
                      <a:gd name="connsiteX4" fmla="*/ 138371 w 139103"/>
                      <a:gd name="connsiteY4" fmla="*/ 160128 h 453100"/>
                      <a:gd name="connsiteX5" fmla="*/ 132002 w 139103"/>
                      <a:gd name="connsiteY5" fmla="*/ 0 h 45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103" h="453100">
                        <a:moveTo>
                          <a:pt x="132067" y="65"/>
                        </a:moveTo>
                        <a:cubicBezTo>
                          <a:pt x="132067" y="65"/>
                          <a:pt x="19972" y="69118"/>
                          <a:pt x="2037" y="288035"/>
                        </a:cubicBezTo>
                        <a:cubicBezTo>
                          <a:pt x="-9790" y="433092"/>
                          <a:pt x="33748" y="452905"/>
                          <a:pt x="33748" y="452905"/>
                        </a:cubicBezTo>
                        <a:lnTo>
                          <a:pt x="49799" y="453100"/>
                        </a:lnTo>
                        <a:cubicBezTo>
                          <a:pt x="49799" y="453100"/>
                          <a:pt x="131028" y="250163"/>
                          <a:pt x="138371" y="160128"/>
                        </a:cubicBezTo>
                        <a:cubicBezTo>
                          <a:pt x="141815" y="117579"/>
                          <a:pt x="132002" y="0"/>
                          <a:pt x="132002" y="0"/>
                        </a:cubicBezTo>
                        <a:close/>
                      </a:path>
                    </a:pathLst>
                  </a:custGeom>
                  <a:solidFill>
                    <a:srgbClr val="2C72B5"/>
                  </a:solidFill>
                  <a:ln w="6471" cap="flat">
                    <a:noFill/>
                    <a:prstDash val="solid"/>
                    <a:miter/>
                  </a:ln>
                </p:spPr>
                <p:txBody>
                  <a:bodyPr rtlCol="0" anchor="ctr"/>
                  <a:lstStyle/>
                  <a:p>
                    <a:endParaRPr lang="en-AU"/>
                  </a:p>
                </p:txBody>
              </p:sp>
            </p:grpSp>
            <p:sp>
              <p:nvSpPr>
                <p:cNvPr id="28" name="Freeform: Shape 27">
                  <a:extLst>
                    <a:ext uri="{FF2B5EF4-FFF2-40B4-BE49-F238E27FC236}">
                      <a16:creationId xmlns:a16="http://schemas.microsoft.com/office/drawing/2014/main" id="{1FD2B431-0BF3-8635-ED44-2CFB73FCDAEC}"/>
                    </a:ext>
                  </a:extLst>
                </p:cNvPr>
                <p:cNvSpPr/>
                <p:nvPr/>
              </p:nvSpPr>
              <p:spPr>
                <a:xfrm>
                  <a:off x="4317127" y="6435459"/>
                  <a:ext cx="253918" cy="559211"/>
                </a:xfrm>
                <a:custGeom>
                  <a:avLst/>
                  <a:gdLst>
                    <a:gd name="connsiteX0" fmla="*/ 154269 w 253918"/>
                    <a:gd name="connsiteY0" fmla="*/ 420 h 559211"/>
                    <a:gd name="connsiteX1" fmla="*/ 218212 w 253918"/>
                    <a:gd name="connsiteY1" fmla="*/ 34460 h 559211"/>
                    <a:gd name="connsiteX2" fmla="*/ 237772 w 253918"/>
                    <a:gd name="connsiteY2" fmla="*/ 302227 h 559211"/>
                    <a:gd name="connsiteX3" fmla="*/ 253822 w 253918"/>
                    <a:gd name="connsiteY3" fmla="*/ 557328 h 559211"/>
                    <a:gd name="connsiteX4" fmla="*/ 129 w 253918"/>
                    <a:gd name="connsiteY4" fmla="*/ 559212 h 559211"/>
                    <a:gd name="connsiteX5" fmla="*/ 22938 w 253918"/>
                    <a:gd name="connsiteY5" fmla="*/ 318533 h 559211"/>
                    <a:gd name="connsiteX6" fmla="*/ 42368 w 253918"/>
                    <a:gd name="connsiteY6" fmla="*/ 34460 h 559211"/>
                    <a:gd name="connsiteX7" fmla="*/ 101373 w 253918"/>
                    <a:gd name="connsiteY7" fmla="*/ 1590 h 559211"/>
                    <a:gd name="connsiteX8" fmla="*/ 154334 w 253918"/>
                    <a:gd name="connsiteY8" fmla="*/ 485 h 559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3918" h="559211">
                      <a:moveTo>
                        <a:pt x="154269" y="420"/>
                      </a:moveTo>
                      <a:cubicBezTo>
                        <a:pt x="180847" y="2044"/>
                        <a:pt x="210089" y="6722"/>
                        <a:pt x="218212" y="34460"/>
                      </a:cubicBezTo>
                      <a:cubicBezTo>
                        <a:pt x="223670" y="72267"/>
                        <a:pt x="214898" y="178607"/>
                        <a:pt x="237772" y="302227"/>
                      </a:cubicBezTo>
                      <a:cubicBezTo>
                        <a:pt x="256162" y="475867"/>
                        <a:pt x="253822" y="557328"/>
                        <a:pt x="253822" y="557328"/>
                      </a:cubicBezTo>
                      <a:lnTo>
                        <a:pt x="129" y="559212"/>
                      </a:lnTo>
                      <a:cubicBezTo>
                        <a:pt x="129" y="559212"/>
                        <a:pt x="-3120" y="490613"/>
                        <a:pt x="22938" y="318533"/>
                      </a:cubicBezTo>
                      <a:cubicBezTo>
                        <a:pt x="40549" y="201993"/>
                        <a:pt x="25993" y="87013"/>
                        <a:pt x="42368" y="34460"/>
                      </a:cubicBezTo>
                      <a:cubicBezTo>
                        <a:pt x="50101" y="9645"/>
                        <a:pt x="84217" y="4903"/>
                        <a:pt x="101373" y="1590"/>
                      </a:cubicBezTo>
                      <a:cubicBezTo>
                        <a:pt x="103322" y="1200"/>
                        <a:pt x="131785" y="-944"/>
                        <a:pt x="154334" y="485"/>
                      </a:cubicBezTo>
                      <a:close/>
                    </a:path>
                  </a:pathLst>
                </a:custGeom>
                <a:solidFill>
                  <a:srgbClr val="2C72B5"/>
                </a:solidFill>
                <a:ln w="6471" cap="flat">
                  <a:noFill/>
                  <a:prstDash val="solid"/>
                  <a:miter/>
                </a:ln>
              </p:spPr>
              <p:txBody>
                <a:bodyPr rtlCol="0" anchor="ctr"/>
                <a:lstStyle/>
                <a:p>
                  <a:endParaRPr lang="en-AU"/>
                </a:p>
              </p:txBody>
            </p:sp>
          </p:grpSp>
          <p:sp>
            <p:nvSpPr>
              <p:cNvPr id="24" name="Freeform: Shape 23">
                <a:extLst>
                  <a:ext uri="{FF2B5EF4-FFF2-40B4-BE49-F238E27FC236}">
                    <a16:creationId xmlns:a16="http://schemas.microsoft.com/office/drawing/2014/main" id="{BCAA2BFD-F10A-7AA3-D14F-35D1334A1CDE}"/>
                  </a:ext>
                </a:extLst>
              </p:cNvPr>
              <p:cNvSpPr/>
              <p:nvPr/>
            </p:nvSpPr>
            <p:spPr>
              <a:xfrm>
                <a:off x="4393937" y="6258808"/>
                <a:ext cx="205800" cy="405231"/>
              </a:xfrm>
              <a:custGeom>
                <a:avLst/>
                <a:gdLst>
                  <a:gd name="connsiteX0" fmla="*/ 100723 w 205800"/>
                  <a:gd name="connsiteY0" fmla="*/ 14279 h 405231"/>
                  <a:gd name="connsiteX1" fmla="*/ 100723 w 205800"/>
                  <a:gd name="connsiteY1" fmla="*/ 14279 h 405231"/>
                  <a:gd name="connsiteX2" fmla="*/ 205801 w 205800"/>
                  <a:gd name="connsiteY2" fmla="*/ 405147 h 405231"/>
                  <a:gd name="connsiteX3" fmla="*/ 55170 w 205800"/>
                  <a:gd name="connsiteY3" fmla="*/ 109447 h 405231"/>
                  <a:gd name="connsiteX4" fmla="*/ 62254 w 205800"/>
                  <a:gd name="connsiteY4" fmla="*/ 80994 h 405231"/>
                  <a:gd name="connsiteX5" fmla="*/ 39250 w 205800"/>
                  <a:gd name="connsiteY5" fmla="*/ 80020 h 405231"/>
                  <a:gd name="connsiteX6" fmla="*/ 0 w 205800"/>
                  <a:gd name="connsiteY6" fmla="*/ 22335 h 405231"/>
                  <a:gd name="connsiteX7" fmla="*/ 100658 w 205800"/>
                  <a:gd name="connsiteY7" fmla="*/ 14279 h 405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800" h="405231">
                    <a:moveTo>
                      <a:pt x="100723" y="14279"/>
                    </a:moveTo>
                    <a:lnTo>
                      <a:pt x="100723" y="14279"/>
                    </a:lnTo>
                    <a:cubicBezTo>
                      <a:pt x="187735" y="79175"/>
                      <a:pt x="134644" y="361364"/>
                      <a:pt x="205801" y="405147"/>
                    </a:cubicBezTo>
                    <a:cubicBezTo>
                      <a:pt x="42044" y="410994"/>
                      <a:pt x="55170" y="109447"/>
                      <a:pt x="55170" y="109447"/>
                    </a:cubicBezTo>
                    <a:cubicBezTo>
                      <a:pt x="53741" y="105094"/>
                      <a:pt x="69077" y="93986"/>
                      <a:pt x="62254" y="80994"/>
                    </a:cubicBezTo>
                    <a:cubicBezTo>
                      <a:pt x="56730" y="70470"/>
                      <a:pt x="46203" y="67028"/>
                      <a:pt x="39250" y="80020"/>
                    </a:cubicBezTo>
                    <a:cubicBezTo>
                      <a:pt x="39250" y="80020"/>
                      <a:pt x="21119" y="26297"/>
                      <a:pt x="0" y="22335"/>
                    </a:cubicBezTo>
                    <a:cubicBezTo>
                      <a:pt x="14166" y="-4689"/>
                      <a:pt x="77979" y="-6963"/>
                      <a:pt x="100658" y="14279"/>
                    </a:cubicBezTo>
                    <a:close/>
                  </a:path>
                </a:pathLst>
              </a:custGeom>
              <a:solidFill>
                <a:schemeClr val="accent3"/>
              </a:solidFill>
              <a:ln w="6471" cap="flat">
                <a:noFill/>
                <a:prstDash val="solid"/>
                <a:miter/>
              </a:ln>
            </p:spPr>
            <p:txBody>
              <a:bodyPr rtlCol="0" anchor="ctr"/>
              <a:lstStyle/>
              <a:p>
                <a:endParaRPr lang="en-AU"/>
              </a:p>
            </p:txBody>
          </p:sp>
        </p:grpSp>
        <p:grpSp>
          <p:nvGrpSpPr>
            <p:cNvPr id="15" name="Graphic 72">
              <a:extLst>
                <a:ext uri="{FF2B5EF4-FFF2-40B4-BE49-F238E27FC236}">
                  <a16:creationId xmlns:a16="http://schemas.microsoft.com/office/drawing/2014/main" id="{D03418D3-74B8-7C85-F2FD-20854C61E174}"/>
                </a:ext>
              </a:extLst>
            </p:cNvPr>
            <p:cNvGrpSpPr/>
            <p:nvPr/>
          </p:nvGrpSpPr>
          <p:grpSpPr>
            <a:xfrm flipH="1">
              <a:off x="4036987" y="6743273"/>
              <a:ext cx="510765" cy="666235"/>
              <a:chOff x="4217768" y="6743273"/>
              <a:chExt cx="510765" cy="666235"/>
            </a:xfrm>
          </p:grpSpPr>
          <p:grpSp>
            <p:nvGrpSpPr>
              <p:cNvPr id="16" name="Graphic 72">
                <a:extLst>
                  <a:ext uri="{FF2B5EF4-FFF2-40B4-BE49-F238E27FC236}">
                    <a16:creationId xmlns:a16="http://schemas.microsoft.com/office/drawing/2014/main" id="{27B27F9E-1776-7CF3-F9C7-C118ED3ED197}"/>
                  </a:ext>
                </a:extLst>
              </p:cNvPr>
              <p:cNvGrpSpPr/>
              <p:nvPr/>
            </p:nvGrpSpPr>
            <p:grpSpPr>
              <a:xfrm>
                <a:off x="4282426" y="7066290"/>
                <a:ext cx="381384" cy="343218"/>
                <a:chOff x="4282426" y="7066290"/>
                <a:chExt cx="381384" cy="343218"/>
              </a:xfrm>
            </p:grpSpPr>
            <p:sp>
              <p:nvSpPr>
                <p:cNvPr id="18" name="Freeform: Shape 17">
                  <a:extLst>
                    <a:ext uri="{FF2B5EF4-FFF2-40B4-BE49-F238E27FC236}">
                      <a16:creationId xmlns:a16="http://schemas.microsoft.com/office/drawing/2014/main" id="{29E13C8E-2878-9D74-8DCA-EB4DEE481F7E}"/>
                    </a:ext>
                  </a:extLst>
                </p:cNvPr>
                <p:cNvSpPr/>
                <p:nvPr/>
              </p:nvSpPr>
              <p:spPr>
                <a:xfrm>
                  <a:off x="4355959" y="7066290"/>
                  <a:ext cx="117971" cy="40372"/>
                </a:xfrm>
                <a:custGeom>
                  <a:avLst/>
                  <a:gdLst>
                    <a:gd name="connsiteX0" fmla="*/ 117971 w 117971"/>
                    <a:gd name="connsiteY0" fmla="*/ 1461 h 40372"/>
                    <a:gd name="connsiteX1" fmla="*/ 11854 w 117971"/>
                    <a:gd name="connsiteY1" fmla="*/ 3864 h 40372"/>
                    <a:gd name="connsiteX2" fmla="*/ 27 w 117971"/>
                    <a:gd name="connsiteY2" fmla="*/ 40372 h 40372"/>
                    <a:gd name="connsiteX3" fmla="*/ 117971 w 117971"/>
                    <a:gd name="connsiteY3" fmla="*/ 16142 h 40372"/>
                    <a:gd name="connsiteX4" fmla="*/ 117971 w 117971"/>
                    <a:gd name="connsiteY4" fmla="*/ 1461 h 40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971" h="40372">
                      <a:moveTo>
                        <a:pt x="117971" y="1461"/>
                      </a:moveTo>
                      <a:cubicBezTo>
                        <a:pt x="117971" y="1461"/>
                        <a:pt x="24851" y="-3086"/>
                        <a:pt x="11854" y="3864"/>
                      </a:cubicBezTo>
                      <a:cubicBezTo>
                        <a:pt x="-1142" y="10815"/>
                        <a:pt x="27" y="40372"/>
                        <a:pt x="27" y="40372"/>
                      </a:cubicBezTo>
                      <a:lnTo>
                        <a:pt x="117971" y="16142"/>
                      </a:lnTo>
                      <a:lnTo>
                        <a:pt x="117971" y="1461"/>
                      </a:lnTo>
                      <a:close/>
                    </a:path>
                  </a:pathLst>
                </a:custGeom>
                <a:solidFill>
                  <a:srgbClr val="E0E0E0"/>
                </a:solidFill>
                <a:ln w="6471"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1B7FAB49-F9FB-7016-BCAB-8B9D6AA322EE}"/>
                    </a:ext>
                  </a:extLst>
                </p:cNvPr>
                <p:cNvSpPr/>
                <p:nvPr/>
              </p:nvSpPr>
              <p:spPr>
                <a:xfrm>
                  <a:off x="4472436" y="7066290"/>
                  <a:ext cx="117971" cy="40372"/>
                </a:xfrm>
                <a:custGeom>
                  <a:avLst/>
                  <a:gdLst>
                    <a:gd name="connsiteX0" fmla="*/ 0 w 117971"/>
                    <a:gd name="connsiteY0" fmla="*/ 1461 h 40372"/>
                    <a:gd name="connsiteX1" fmla="*/ 106117 w 117971"/>
                    <a:gd name="connsiteY1" fmla="*/ 3864 h 40372"/>
                    <a:gd name="connsiteX2" fmla="*/ 117944 w 117971"/>
                    <a:gd name="connsiteY2" fmla="*/ 40372 h 40372"/>
                    <a:gd name="connsiteX3" fmla="*/ 0 w 117971"/>
                    <a:gd name="connsiteY3" fmla="*/ 16142 h 40372"/>
                    <a:gd name="connsiteX4" fmla="*/ 0 w 117971"/>
                    <a:gd name="connsiteY4" fmla="*/ 1461 h 40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971" h="40372">
                      <a:moveTo>
                        <a:pt x="0" y="1461"/>
                      </a:moveTo>
                      <a:cubicBezTo>
                        <a:pt x="0" y="1461"/>
                        <a:pt x="93120" y="-3086"/>
                        <a:pt x="106117" y="3864"/>
                      </a:cubicBezTo>
                      <a:cubicBezTo>
                        <a:pt x="119113" y="10815"/>
                        <a:pt x="117944" y="40372"/>
                        <a:pt x="117944" y="40372"/>
                      </a:cubicBezTo>
                      <a:lnTo>
                        <a:pt x="0" y="16142"/>
                      </a:lnTo>
                      <a:lnTo>
                        <a:pt x="0" y="1461"/>
                      </a:lnTo>
                      <a:close/>
                    </a:path>
                  </a:pathLst>
                </a:custGeom>
                <a:solidFill>
                  <a:srgbClr val="E0E0E0"/>
                </a:solidFill>
                <a:ln w="6471"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92DAEC23-70D8-E86D-8062-5BCC8058329E}"/>
                    </a:ext>
                  </a:extLst>
                </p:cNvPr>
                <p:cNvSpPr/>
                <p:nvPr/>
              </p:nvSpPr>
              <p:spPr>
                <a:xfrm>
                  <a:off x="4282426" y="7073402"/>
                  <a:ext cx="381384" cy="336106"/>
                </a:xfrm>
                <a:custGeom>
                  <a:avLst/>
                  <a:gdLst>
                    <a:gd name="connsiteX0" fmla="*/ 316661 w 381384"/>
                    <a:gd name="connsiteY0" fmla="*/ 23191 h 336106"/>
                    <a:gd name="connsiteX1" fmla="*/ 215028 w 381384"/>
                    <a:gd name="connsiteY1" fmla="*/ 0 h 336106"/>
                    <a:gd name="connsiteX2" fmla="*/ 166486 w 381384"/>
                    <a:gd name="connsiteY2" fmla="*/ 0 h 336106"/>
                    <a:gd name="connsiteX3" fmla="*/ 64853 w 381384"/>
                    <a:gd name="connsiteY3" fmla="*/ 23191 h 336106"/>
                    <a:gd name="connsiteX4" fmla="*/ 0 w 381384"/>
                    <a:gd name="connsiteY4" fmla="*/ 336106 h 336106"/>
                    <a:gd name="connsiteX5" fmla="*/ 14491 w 381384"/>
                    <a:gd name="connsiteY5" fmla="*/ 336106 h 336106"/>
                    <a:gd name="connsiteX6" fmla="*/ 93315 w 381384"/>
                    <a:gd name="connsiteY6" fmla="*/ 39431 h 336106"/>
                    <a:gd name="connsiteX7" fmla="*/ 190920 w 381384"/>
                    <a:gd name="connsiteY7" fmla="*/ 22606 h 336106"/>
                    <a:gd name="connsiteX8" fmla="*/ 190920 w 381384"/>
                    <a:gd name="connsiteY8" fmla="*/ 22606 h 336106"/>
                    <a:gd name="connsiteX9" fmla="*/ 288069 w 381384"/>
                    <a:gd name="connsiteY9" fmla="*/ 39431 h 336106"/>
                    <a:gd name="connsiteX10" fmla="*/ 366893 w 381384"/>
                    <a:gd name="connsiteY10" fmla="*/ 336106 h 336106"/>
                    <a:gd name="connsiteX11" fmla="*/ 381384 w 381384"/>
                    <a:gd name="connsiteY11" fmla="*/ 336106 h 336106"/>
                    <a:gd name="connsiteX12" fmla="*/ 316531 w 381384"/>
                    <a:gd name="connsiteY12" fmla="*/ 23191 h 33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384" h="336106">
                      <a:moveTo>
                        <a:pt x="316661" y="23191"/>
                      </a:moveTo>
                      <a:cubicBezTo>
                        <a:pt x="303405" y="5197"/>
                        <a:pt x="215028" y="0"/>
                        <a:pt x="215028" y="0"/>
                      </a:cubicBezTo>
                      <a:lnTo>
                        <a:pt x="166486" y="0"/>
                      </a:lnTo>
                      <a:cubicBezTo>
                        <a:pt x="166486" y="0"/>
                        <a:pt x="78109" y="5197"/>
                        <a:pt x="64853" y="23191"/>
                      </a:cubicBezTo>
                      <a:cubicBezTo>
                        <a:pt x="54781" y="36833"/>
                        <a:pt x="0" y="336106"/>
                        <a:pt x="0" y="336106"/>
                      </a:cubicBezTo>
                      <a:lnTo>
                        <a:pt x="14491" y="336106"/>
                      </a:lnTo>
                      <a:cubicBezTo>
                        <a:pt x="14491" y="336106"/>
                        <a:pt x="78239" y="53917"/>
                        <a:pt x="93315" y="39431"/>
                      </a:cubicBezTo>
                      <a:cubicBezTo>
                        <a:pt x="106572" y="28388"/>
                        <a:pt x="190920" y="22606"/>
                        <a:pt x="190920" y="22606"/>
                      </a:cubicBezTo>
                      <a:lnTo>
                        <a:pt x="190920" y="22606"/>
                      </a:lnTo>
                      <a:cubicBezTo>
                        <a:pt x="197288" y="22476"/>
                        <a:pt x="274812" y="28323"/>
                        <a:pt x="288069" y="39431"/>
                      </a:cubicBezTo>
                      <a:cubicBezTo>
                        <a:pt x="303145" y="53917"/>
                        <a:pt x="366893" y="336106"/>
                        <a:pt x="366893" y="336106"/>
                      </a:cubicBezTo>
                      <a:lnTo>
                        <a:pt x="381384" y="336106"/>
                      </a:lnTo>
                      <a:cubicBezTo>
                        <a:pt x="381384" y="336106"/>
                        <a:pt x="326604" y="36833"/>
                        <a:pt x="316531" y="23191"/>
                      </a:cubicBezTo>
                      <a:close/>
                    </a:path>
                  </a:pathLst>
                </a:custGeom>
                <a:solidFill>
                  <a:schemeClr val="accent3"/>
                </a:solidFill>
                <a:ln w="6471" cap="flat">
                  <a:noFill/>
                  <a:prstDash val="solid"/>
                  <a:miter/>
                </a:ln>
              </p:spPr>
              <p:txBody>
                <a:bodyPr rtlCol="0" anchor="ctr"/>
                <a:lstStyle/>
                <a:p>
                  <a:endParaRPr lang="en-AU"/>
                </a:p>
              </p:txBody>
            </p:sp>
          </p:grpSp>
          <p:sp>
            <p:nvSpPr>
              <p:cNvPr id="17" name="Freeform: Shape 16">
                <a:extLst>
                  <a:ext uri="{FF2B5EF4-FFF2-40B4-BE49-F238E27FC236}">
                    <a16:creationId xmlns:a16="http://schemas.microsoft.com/office/drawing/2014/main" id="{9A0D885E-E7CD-D8BB-9D1C-00C706CD2245}"/>
                  </a:ext>
                </a:extLst>
              </p:cNvPr>
              <p:cNvSpPr/>
              <p:nvPr/>
            </p:nvSpPr>
            <p:spPr>
              <a:xfrm>
                <a:off x="4217768" y="6743273"/>
                <a:ext cx="510765" cy="329802"/>
              </a:xfrm>
              <a:custGeom>
                <a:avLst/>
                <a:gdLst>
                  <a:gd name="connsiteX0" fmla="*/ 262141 w 510765"/>
                  <a:gd name="connsiteY0" fmla="*/ 0 h 329802"/>
                  <a:gd name="connsiteX1" fmla="*/ 262141 w 510765"/>
                  <a:gd name="connsiteY1" fmla="*/ 0 h 329802"/>
                  <a:gd name="connsiteX2" fmla="*/ 248754 w 510765"/>
                  <a:gd name="connsiteY2" fmla="*/ 0 h 329802"/>
                  <a:gd name="connsiteX3" fmla="*/ 248754 w 510765"/>
                  <a:gd name="connsiteY3" fmla="*/ 0 h 329802"/>
                  <a:gd name="connsiteX4" fmla="*/ 0 w 510765"/>
                  <a:gd name="connsiteY4" fmla="*/ 95882 h 329802"/>
                  <a:gd name="connsiteX5" fmla="*/ 84413 w 510765"/>
                  <a:gd name="connsiteY5" fmla="*/ 291023 h 329802"/>
                  <a:gd name="connsiteX6" fmla="*/ 255383 w 510765"/>
                  <a:gd name="connsiteY6" fmla="*/ 329610 h 329802"/>
                  <a:gd name="connsiteX7" fmla="*/ 426352 w 510765"/>
                  <a:gd name="connsiteY7" fmla="*/ 291023 h 329802"/>
                  <a:gd name="connsiteX8" fmla="*/ 510765 w 510765"/>
                  <a:gd name="connsiteY8" fmla="*/ 95882 h 329802"/>
                  <a:gd name="connsiteX9" fmla="*/ 262011 w 510765"/>
                  <a:gd name="connsiteY9" fmla="*/ 0 h 329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0765" h="329802">
                    <a:moveTo>
                      <a:pt x="262141" y="0"/>
                    </a:moveTo>
                    <a:lnTo>
                      <a:pt x="262141" y="0"/>
                    </a:lnTo>
                    <a:cubicBezTo>
                      <a:pt x="259996" y="0"/>
                      <a:pt x="250899" y="0"/>
                      <a:pt x="248754" y="0"/>
                    </a:cubicBezTo>
                    <a:lnTo>
                      <a:pt x="248754" y="0"/>
                    </a:lnTo>
                    <a:cubicBezTo>
                      <a:pt x="146471" y="1624"/>
                      <a:pt x="56145" y="39041"/>
                      <a:pt x="0" y="95882"/>
                    </a:cubicBezTo>
                    <a:cubicBezTo>
                      <a:pt x="18195" y="152398"/>
                      <a:pt x="53611" y="253801"/>
                      <a:pt x="84413" y="291023"/>
                    </a:cubicBezTo>
                    <a:cubicBezTo>
                      <a:pt x="119958" y="333962"/>
                      <a:pt x="249209" y="329805"/>
                      <a:pt x="255383" y="329610"/>
                    </a:cubicBezTo>
                    <a:cubicBezTo>
                      <a:pt x="261556" y="329805"/>
                      <a:pt x="390807" y="333962"/>
                      <a:pt x="426352" y="291023"/>
                    </a:cubicBezTo>
                    <a:cubicBezTo>
                      <a:pt x="457219" y="253801"/>
                      <a:pt x="492635" y="152398"/>
                      <a:pt x="510765" y="95882"/>
                    </a:cubicBezTo>
                    <a:cubicBezTo>
                      <a:pt x="454620" y="39041"/>
                      <a:pt x="364359" y="1624"/>
                      <a:pt x="262011" y="0"/>
                    </a:cubicBezTo>
                    <a:close/>
                  </a:path>
                </a:pathLst>
              </a:custGeom>
              <a:solidFill>
                <a:srgbClr val="F25E21"/>
              </a:solidFill>
              <a:ln w="6471" cap="flat">
                <a:noFill/>
                <a:prstDash val="solid"/>
                <a:miter/>
              </a:ln>
            </p:spPr>
            <p:txBody>
              <a:bodyPr rtlCol="0" anchor="ctr"/>
              <a:lstStyle/>
              <a:p>
                <a:endParaRPr lang="en-AU"/>
              </a:p>
            </p:txBody>
          </p:sp>
        </p:grpSp>
      </p:grpSp>
    </p:spTree>
    <p:extLst>
      <p:ext uri="{BB962C8B-B14F-4D97-AF65-F5344CB8AC3E}">
        <p14:creationId xmlns:p14="http://schemas.microsoft.com/office/powerpoint/2010/main" val="5985095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9FB356C-6338-473D-1562-9097F6C49CBB}"/>
              </a:ext>
              <a:ext uri="{C183D7F6-B498-43B3-948B-1728B52AA6E4}">
                <adec:decorative xmlns:adec="http://schemas.microsoft.com/office/drawing/2017/decorative" val="1"/>
              </a:ext>
            </a:extLst>
          </p:cNvPr>
          <p:cNvSpPr>
            <a:spLocks noGrp="1"/>
          </p:cNvSpPr>
          <p:nvPr>
            <p:ph type="sldNum" sz="quarter" idx="4"/>
          </p:nvPr>
        </p:nvSpPr>
        <p:spPr/>
        <p:txBody>
          <a:bodyPr/>
          <a:lstStyle/>
          <a:p>
            <a:pPr algn="l"/>
            <a:fld id="{48F63A3B-78C7-47BE-AE5E-E10140E04643}" type="slidenum">
              <a:rPr lang="en-US" smtClean="0"/>
              <a:pPr algn="l"/>
              <a:t>2</a:t>
            </a:fld>
            <a:endParaRPr lang="en-US"/>
          </a:p>
        </p:txBody>
      </p:sp>
      <p:sp>
        <p:nvSpPr>
          <p:cNvPr id="7" name="Text Placeholder 6">
            <a:extLst>
              <a:ext uri="{FF2B5EF4-FFF2-40B4-BE49-F238E27FC236}">
                <a16:creationId xmlns:a16="http://schemas.microsoft.com/office/drawing/2014/main" id="{84BCDF33-AB7B-5992-CBD5-11841988EB4F}"/>
              </a:ext>
            </a:extLst>
          </p:cNvPr>
          <p:cNvSpPr>
            <a:spLocks noGrp="1"/>
          </p:cNvSpPr>
          <p:nvPr>
            <p:ph type="title" idx="4294967295"/>
          </p:nvPr>
        </p:nvSpPr>
        <p:spPr>
          <a:xfrm>
            <a:off x="433388" y="576263"/>
            <a:ext cx="9825037" cy="346075"/>
          </a:xfrm>
          <a:prstGeom prst="rect">
            <a:avLst/>
          </a:prstGeom>
          <a:noFill/>
          <a:ln>
            <a:noFill/>
            <a:prstDash/>
          </a:ln>
          <a:effectLst/>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1007943" rtl="0" eaLnBrk="1" fontAlgn="auto" latinLnBrk="0" hangingPunct="1">
              <a:lnSpc>
                <a:spcPct val="100000"/>
              </a:lnSpc>
              <a:spcBef>
                <a:spcPts val="661"/>
              </a:spcBef>
              <a:spcAft>
                <a:spcPts val="0"/>
              </a:spcAft>
              <a:buClrTx/>
              <a:buSzTx/>
              <a:buFont typeface="Arial" panose="020B0604020202020204" pitchFamily="34" charset="0"/>
              <a:buNone/>
              <a:tabLst/>
              <a:defRPr/>
            </a:pPr>
            <a:r>
              <a:rPr kumimoji="0" lang="en-AU" sz="1800" b="0" i="0" u="none" strike="noStrike" kern="1200" cap="none" spc="0" normalizeH="0" baseline="0" noProof="0" dirty="0">
                <a:ln>
                  <a:noFill/>
                </a:ln>
                <a:solidFill>
                  <a:schemeClr val="accent6"/>
                </a:solidFill>
                <a:effectLst/>
                <a:uLnTx/>
                <a:uFillTx/>
                <a:latin typeface="Segoe UI Semibold" panose="020B0702040204020203" pitchFamily="34" charset="0"/>
                <a:ea typeface="Segoe UI Semibold" panose="020B0702040204020203" pitchFamily="34" charset="0"/>
                <a:cs typeface="Segoe UI Semibold" panose="020B0702040204020203" pitchFamily="34" charset="0"/>
              </a:rPr>
              <a:t>Our principles</a:t>
            </a:r>
          </a:p>
        </p:txBody>
      </p:sp>
      <p:sp>
        <p:nvSpPr>
          <p:cNvPr id="19" name="Rectangle: Rounded Corners 18">
            <a:hlinkClick r:id="rId3" action="ppaction://hlinksldjump"/>
            <a:extLst>
              <a:ext uri="{FF2B5EF4-FFF2-40B4-BE49-F238E27FC236}">
                <a16:creationId xmlns:a16="http://schemas.microsoft.com/office/drawing/2014/main" id="{F5E9C0B2-88C7-0093-9394-67E3657A07B0}"/>
              </a:ext>
            </a:extLst>
          </p:cNvPr>
          <p:cNvSpPr>
            <a:spLocks/>
          </p:cNvSpPr>
          <p:nvPr/>
        </p:nvSpPr>
        <p:spPr>
          <a:xfrm>
            <a:off x="431998" y="1116000"/>
            <a:ext cx="2340028" cy="612000"/>
          </a:xfrm>
          <a:prstGeom prst="roundRect">
            <a:avLst>
              <a:gd name="adj" fmla="val 10084"/>
            </a:avLst>
          </a:prstGeom>
          <a:solidFill>
            <a:srgbClr val="017D7D"/>
          </a:solidFill>
          <a:ln>
            <a:noFill/>
          </a:ln>
        </p:spPr>
        <p:style>
          <a:lnRef idx="2">
            <a:schemeClr val="accent1">
              <a:shade val="50000"/>
            </a:schemeClr>
          </a:lnRef>
          <a:fillRef idx="1">
            <a:schemeClr val="accent1"/>
          </a:fillRef>
          <a:effectRef idx="0">
            <a:schemeClr val="accent1"/>
          </a:effectRef>
          <a:fontRef idx="minor">
            <a:schemeClr val="lt1"/>
          </a:fontRef>
        </p:style>
        <p:txBody>
          <a:bodyPr lIns="828000" tIns="54000" rIns="72000" bIns="72000" rtlCol="0" anchor="ctr"/>
          <a:lstStyle/>
          <a:p>
            <a:pPr>
              <a:lnSpc>
                <a:spcPct val="90000"/>
              </a:lnSpc>
            </a:pPr>
            <a:r>
              <a:rPr lang="en-AU" sz="1150" b="0" dirty="0">
                <a:solidFill>
                  <a:schemeClr val="bg1"/>
                </a:solidFill>
                <a:latin typeface="+mj-lt"/>
              </a:rPr>
              <a:t>CUSTOMER</a:t>
            </a:r>
            <a:br>
              <a:rPr lang="en-AU" sz="1150" b="0" dirty="0">
                <a:solidFill>
                  <a:schemeClr val="bg1"/>
                </a:solidFill>
                <a:latin typeface="+mj-lt"/>
              </a:rPr>
            </a:br>
            <a:r>
              <a:rPr lang="en-AU" sz="1150" b="0" dirty="0">
                <a:solidFill>
                  <a:schemeClr val="bg1"/>
                </a:solidFill>
                <a:latin typeface="+mj-lt"/>
              </a:rPr>
              <a:t>FOCUSED</a:t>
            </a:r>
          </a:p>
        </p:txBody>
      </p:sp>
      <p:sp>
        <p:nvSpPr>
          <p:cNvPr id="38" name="Rectangle: Rounded Corners 37">
            <a:hlinkClick r:id="rId3" action="ppaction://hlinksldjump"/>
            <a:extLst>
              <a:ext uri="{FF2B5EF4-FFF2-40B4-BE49-F238E27FC236}">
                <a16:creationId xmlns:a16="http://schemas.microsoft.com/office/drawing/2014/main" id="{290B727D-8454-DFF1-D2E4-7B905AA0A4A8}"/>
              </a:ext>
            </a:extLst>
          </p:cNvPr>
          <p:cNvSpPr>
            <a:spLocks/>
          </p:cNvSpPr>
          <p:nvPr/>
        </p:nvSpPr>
        <p:spPr>
          <a:xfrm>
            <a:off x="431998" y="1857824"/>
            <a:ext cx="2340028" cy="4644000"/>
          </a:xfrm>
          <a:prstGeom prst="roundRect">
            <a:avLst>
              <a:gd name="adj" fmla="val 336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72000" rtlCol="0" anchor="t" anchorCtr="0"/>
          <a:lstStyle/>
          <a:p>
            <a:pPr>
              <a:spcAft>
                <a:spcPts val="900"/>
              </a:spcAft>
            </a:pPr>
            <a:r>
              <a:rPr lang="en-AU" sz="1050" b="0" dirty="0">
                <a:solidFill>
                  <a:schemeClr val="accent6"/>
                </a:solidFill>
              </a:rPr>
              <a:t>Keep front of mind the balance between delivering a good applicant experience and ensuring positive long-term outcomes for the community.</a:t>
            </a:r>
          </a:p>
          <a:p>
            <a:pPr>
              <a:spcAft>
                <a:spcPts val="900"/>
              </a:spcAft>
            </a:pPr>
            <a:r>
              <a:rPr lang="en-AU" sz="1050" b="0" dirty="0">
                <a:solidFill>
                  <a:schemeClr val="accent6"/>
                </a:solidFill>
              </a:rPr>
              <a:t>Keep each other informed of any conversations with applicants to share information and ensure that the applicant feels like they are dealing with one team.</a:t>
            </a:r>
          </a:p>
        </p:txBody>
      </p:sp>
      <p:sp>
        <p:nvSpPr>
          <p:cNvPr id="22" name="Rectangle: Rounded Corners 21">
            <a:hlinkClick r:id="rId4" action="ppaction://hlinksldjump"/>
            <a:extLst>
              <a:ext uri="{FF2B5EF4-FFF2-40B4-BE49-F238E27FC236}">
                <a16:creationId xmlns:a16="http://schemas.microsoft.com/office/drawing/2014/main" id="{0E2B65E1-07DA-F4BB-9885-AF92D524279A}"/>
              </a:ext>
            </a:extLst>
          </p:cNvPr>
          <p:cNvSpPr>
            <a:spLocks/>
          </p:cNvSpPr>
          <p:nvPr/>
        </p:nvSpPr>
        <p:spPr>
          <a:xfrm>
            <a:off x="2927927" y="1116000"/>
            <a:ext cx="2340028" cy="612000"/>
          </a:xfrm>
          <a:prstGeom prst="roundRect">
            <a:avLst>
              <a:gd name="adj" fmla="val 967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28000" tIns="54000" rIns="72000" bIns="72000" rtlCol="0" anchor="ctr"/>
          <a:lstStyle/>
          <a:p>
            <a:pPr>
              <a:lnSpc>
                <a:spcPct val="90000"/>
              </a:lnSpc>
            </a:pPr>
            <a:r>
              <a:rPr lang="en-AU" sz="1150" b="0" dirty="0">
                <a:solidFill>
                  <a:schemeClr val="tx1"/>
                </a:solidFill>
                <a:latin typeface="+mj-lt"/>
              </a:rPr>
              <a:t> COLLABORATION</a:t>
            </a:r>
          </a:p>
        </p:txBody>
      </p:sp>
      <p:sp>
        <p:nvSpPr>
          <p:cNvPr id="39" name="Rectangle: Rounded Corners 38">
            <a:hlinkClick r:id="rId4" action="ppaction://hlinksldjump"/>
            <a:extLst>
              <a:ext uri="{FF2B5EF4-FFF2-40B4-BE49-F238E27FC236}">
                <a16:creationId xmlns:a16="http://schemas.microsoft.com/office/drawing/2014/main" id="{6DCDB616-A350-BB92-69B1-7739D2CE4595}"/>
              </a:ext>
            </a:extLst>
          </p:cNvPr>
          <p:cNvSpPr>
            <a:spLocks/>
          </p:cNvSpPr>
          <p:nvPr/>
        </p:nvSpPr>
        <p:spPr>
          <a:xfrm>
            <a:off x="2927927" y="1857824"/>
            <a:ext cx="2340028" cy="4644000"/>
          </a:xfrm>
          <a:prstGeom prst="roundRect">
            <a:avLst>
              <a:gd name="adj" fmla="val 3869"/>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72000" rtlCol="0" anchor="t" anchorCtr="0"/>
          <a:lstStyle/>
          <a:p>
            <a:pPr>
              <a:spcAft>
                <a:spcPts val="900"/>
              </a:spcAft>
            </a:pPr>
            <a:r>
              <a:rPr lang="en-AU" sz="1050" b="0" dirty="0">
                <a:solidFill>
                  <a:schemeClr val="accent6"/>
                </a:solidFill>
              </a:rPr>
              <a:t>The teams work as one to deliver on the best outcome, and everyone brings a 'collaborative problem-solving' mindset</a:t>
            </a:r>
          </a:p>
          <a:p>
            <a:pPr>
              <a:spcAft>
                <a:spcPts val="900"/>
              </a:spcAft>
            </a:pPr>
            <a:r>
              <a:rPr lang="en-AU" sz="1050" b="0" dirty="0">
                <a:solidFill>
                  <a:schemeClr val="accent6"/>
                </a:solidFill>
              </a:rPr>
              <a:t>The Planning team seek internal referrals when the expertise of another team is required to fully assess an application.</a:t>
            </a:r>
          </a:p>
          <a:p>
            <a:pPr>
              <a:spcAft>
                <a:spcPts val="900"/>
              </a:spcAft>
            </a:pPr>
            <a:r>
              <a:rPr lang="en-AU" sz="1050" b="0" dirty="0">
                <a:solidFill>
                  <a:schemeClr val="accent6"/>
                </a:solidFill>
              </a:rPr>
              <a:t>The Departments review applications focusing on their expertise and collaborate with other Departments if they require support.</a:t>
            </a:r>
          </a:p>
          <a:p>
            <a:pPr>
              <a:spcAft>
                <a:spcPts val="900"/>
              </a:spcAft>
            </a:pPr>
            <a:r>
              <a:rPr lang="en-AU" sz="1050" b="0" dirty="0">
                <a:solidFill>
                  <a:schemeClr val="accent6"/>
                </a:solidFill>
              </a:rPr>
              <a:t>The Planning team and referral Departments work towards ideal timeframes (refer to process map below) and communicate if these cannot be met.</a:t>
            </a:r>
          </a:p>
          <a:p>
            <a:pPr>
              <a:spcAft>
                <a:spcPts val="900"/>
              </a:spcAft>
            </a:pPr>
            <a:r>
              <a:rPr lang="en-AU" sz="1050" b="0" dirty="0">
                <a:solidFill>
                  <a:schemeClr val="accent6"/>
                </a:solidFill>
              </a:rPr>
              <a:t>Teams practice good record keeping to enable transparency (especially important for re-referrals). </a:t>
            </a:r>
          </a:p>
        </p:txBody>
      </p:sp>
      <p:sp>
        <p:nvSpPr>
          <p:cNvPr id="28" name="Rectangle: Rounded Corners 27">
            <a:hlinkClick r:id="" action="ppaction://noaction"/>
            <a:extLst>
              <a:ext uri="{FF2B5EF4-FFF2-40B4-BE49-F238E27FC236}">
                <a16:creationId xmlns:a16="http://schemas.microsoft.com/office/drawing/2014/main" id="{1D979725-B141-37B1-597C-1C9D1FE6DE4E}"/>
              </a:ext>
            </a:extLst>
          </p:cNvPr>
          <p:cNvSpPr>
            <a:spLocks/>
          </p:cNvSpPr>
          <p:nvPr/>
        </p:nvSpPr>
        <p:spPr>
          <a:xfrm>
            <a:off x="5423857" y="1116000"/>
            <a:ext cx="2340028" cy="612000"/>
          </a:xfrm>
          <a:prstGeom prst="roundRect">
            <a:avLst>
              <a:gd name="adj" fmla="val 1008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28000" tIns="54000" rIns="72000" bIns="72000" rtlCol="0" anchor="ctr"/>
          <a:lstStyle/>
          <a:p>
            <a:pPr>
              <a:lnSpc>
                <a:spcPct val="90000"/>
              </a:lnSpc>
            </a:pPr>
            <a:r>
              <a:rPr lang="en-AU" sz="1150" b="0" dirty="0">
                <a:solidFill>
                  <a:schemeClr val="accent6"/>
                </a:solidFill>
                <a:latin typeface="+mj-lt"/>
              </a:rPr>
              <a:t> </a:t>
            </a:r>
            <a:r>
              <a:rPr lang="en-AU" sz="1150" b="0" dirty="0">
                <a:solidFill>
                  <a:schemeClr val="tx1"/>
                </a:solidFill>
                <a:latin typeface="+mj-lt"/>
              </a:rPr>
              <a:t>CONTINUOUS IMPROVEMENT</a:t>
            </a:r>
          </a:p>
        </p:txBody>
      </p:sp>
      <p:sp>
        <p:nvSpPr>
          <p:cNvPr id="40" name="Rectangle: Rounded Corners 39">
            <a:hlinkClick r:id="" action="ppaction://noaction"/>
            <a:extLst>
              <a:ext uri="{FF2B5EF4-FFF2-40B4-BE49-F238E27FC236}">
                <a16:creationId xmlns:a16="http://schemas.microsoft.com/office/drawing/2014/main" id="{88C1D053-CB0C-6E85-2047-7D42AC2C8BD2}"/>
              </a:ext>
            </a:extLst>
          </p:cNvPr>
          <p:cNvSpPr>
            <a:spLocks/>
          </p:cNvSpPr>
          <p:nvPr/>
        </p:nvSpPr>
        <p:spPr>
          <a:xfrm>
            <a:off x="5423857" y="1857824"/>
            <a:ext cx="2340028" cy="4644000"/>
          </a:xfrm>
          <a:prstGeom prst="roundRect">
            <a:avLst>
              <a:gd name="adj" fmla="val 367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72000" rtlCol="0" anchor="t" anchorCtr="0"/>
          <a:lstStyle/>
          <a:p>
            <a:pPr>
              <a:spcAft>
                <a:spcPts val="900"/>
              </a:spcAft>
            </a:pPr>
            <a:r>
              <a:rPr lang="en-AU" sz="1050" b="0" dirty="0">
                <a:solidFill>
                  <a:schemeClr val="accent6"/>
                </a:solidFill>
              </a:rPr>
              <a:t>The Planning team and referral Departments work in an agile way and keep iterating ways of working, processes and systems to continuously improve.</a:t>
            </a:r>
          </a:p>
          <a:p>
            <a:pPr>
              <a:spcAft>
                <a:spcPts val="900"/>
              </a:spcAft>
            </a:pPr>
            <a:r>
              <a:rPr lang="en-AU" sz="1050" b="0" dirty="0">
                <a:solidFill>
                  <a:schemeClr val="accent6"/>
                </a:solidFill>
              </a:rPr>
              <a:t>If something goes wrong, everyone treats it as a learning opportunity instead of blaming a particular team/person.</a:t>
            </a:r>
          </a:p>
          <a:p>
            <a:pPr>
              <a:spcAft>
                <a:spcPts val="900"/>
              </a:spcAft>
            </a:pPr>
            <a:r>
              <a:rPr lang="en-AU" sz="1050" b="0" dirty="0">
                <a:solidFill>
                  <a:schemeClr val="accent6"/>
                </a:solidFill>
              </a:rPr>
              <a:t>When relevant, the Planning team loops back with the Department after incorporating/not incorporating their advice and to communicate the outcome of the application.</a:t>
            </a:r>
          </a:p>
          <a:p>
            <a:pPr>
              <a:spcAft>
                <a:spcPts val="900"/>
              </a:spcAft>
            </a:pPr>
            <a:r>
              <a:rPr lang="en-AU" sz="1050" b="0" dirty="0">
                <a:solidFill>
                  <a:schemeClr val="accent6"/>
                </a:solidFill>
              </a:rPr>
              <a:t>The teams provide each other ongoing feedback.</a:t>
            </a:r>
          </a:p>
        </p:txBody>
      </p:sp>
      <p:sp>
        <p:nvSpPr>
          <p:cNvPr id="33" name="Rectangle: Rounded Corners 32">
            <a:hlinkClick r:id="" action="ppaction://noaction"/>
            <a:extLst>
              <a:ext uri="{FF2B5EF4-FFF2-40B4-BE49-F238E27FC236}">
                <a16:creationId xmlns:a16="http://schemas.microsoft.com/office/drawing/2014/main" id="{D2ACF108-4C2F-7036-C1F1-0436E3FCBBA1}"/>
              </a:ext>
            </a:extLst>
          </p:cNvPr>
          <p:cNvSpPr>
            <a:spLocks/>
          </p:cNvSpPr>
          <p:nvPr/>
        </p:nvSpPr>
        <p:spPr>
          <a:xfrm>
            <a:off x="7919785" y="1116000"/>
            <a:ext cx="2340028" cy="612000"/>
          </a:xfrm>
          <a:prstGeom prst="roundRect">
            <a:avLst>
              <a:gd name="adj" fmla="val 907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36000" tIns="54000" rIns="72000" bIns="72000" rtlCol="0" anchor="ctr"/>
          <a:lstStyle/>
          <a:p>
            <a:pPr>
              <a:lnSpc>
                <a:spcPct val="90000"/>
              </a:lnSpc>
            </a:pPr>
            <a:r>
              <a:rPr lang="en-AU" sz="1150" b="0" dirty="0">
                <a:solidFill>
                  <a:schemeClr val="tx1"/>
                </a:solidFill>
                <a:latin typeface="+mj-lt"/>
              </a:rPr>
              <a:t>CLARITY AND CONSISTENCY</a:t>
            </a:r>
          </a:p>
        </p:txBody>
      </p:sp>
      <p:sp>
        <p:nvSpPr>
          <p:cNvPr id="41" name="Rectangle: Rounded Corners 40">
            <a:hlinkClick r:id="" action="ppaction://noaction"/>
            <a:extLst>
              <a:ext uri="{FF2B5EF4-FFF2-40B4-BE49-F238E27FC236}">
                <a16:creationId xmlns:a16="http://schemas.microsoft.com/office/drawing/2014/main" id="{30CD32CE-19E2-0F36-EE1B-C922B0A04F30}"/>
              </a:ext>
            </a:extLst>
          </p:cNvPr>
          <p:cNvSpPr>
            <a:spLocks/>
          </p:cNvSpPr>
          <p:nvPr/>
        </p:nvSpPr>
        <p:spPr>
          <a:xfrm>
            <a:off x="7919785" y="1857824"/>
            <a:ext cx="2340028" cy="4644000"/>
          </a:xfrm>
          <a:prstGeom prst="roundRect">
            <a:avLst>
              <a:gd name="adj" fmla="val 3271"/>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72000" rtlCol="0" anchor="t" anchorCtr="0"/>
          <a:lstStyle/>
          <a:p>
            <a:pPr>
              <a:spcAft>
                <a:spcPts val="900"/>
              </a:spcAft>
            </a:pPr>
            <a:r>
              <a:rPr lang="en-AU" sz="1050" b="0" dirty="0">
                <a:solidFill>
                  <a:schemeClr val="accent6"/>
                </a:solidFill>
              </a:rPr>
              <a:t>The Planning team refer applications only to relevant Departments and clearly outline the advice they are seeking.</a:t>
            </a:r>
          </a:p>
          <a:p>
            <a:pPr>
              <a:spcAft>
                <a:spcPts val="900"/>
              </a:spcAft>
            </a:pPr>
            <a:r>
              <a:rPr lang="en-AU" sz="1050" b="0" dirty="0">
                <a:solidFill>
                  <a:schemeClr val="accent6"/>
                </a:solidFill>
              </a:rPr>
              <a:t>The Planning team provide context around their referral and point to specific documentation.</a:t>
            </a:r>
          </a:p>
          <a:p>
            <a:pPr>
              <a:spcAft>
                <a:spcPts val="900"/>
              </a:spcAft>
            </a:pPr>
            <a:r>
              <a:rPr lang="en-AU" sz="1050" b="0" dirty="0">
                <a:solidFill>
                  <a:schemeClr val="accent6"/>
                </a:solidFill>
              </a:rPr>
              <a:t>The Departments provide realistic and objective advice based on data, standards and policies to drive consistency in responses. Referees should always be able to stand behind their advice e.g. be prepared to defend it at VCAT.</a:t>
            </a:r>
          </a:p>
          <a:p>
            <a:pPr>
              <a:spcAft>
                <a:spcPts val="900"/>
              </a:spcAft>
            </a:pPr>
            <a:r>
              <a:rPr lang="en-AU" sz="1050" b="0" dirty="0">
                <a:solidFill>
                  <a:schemeClr val="accent6"/>
                </a:solidFill>
                <a:highlight>
                  <a:srgbClr val="FFFF00"/>
                </a:highlight>
              </a:rPr>
              <a:t>[Software name] </a:t>
            </a:r>
            <a:r>
              <a:rPr lang="en-AU" sz="1050" b="0" dirty="0">
                <a:solidFill>
                  <a:schemeClr val="accent6"/>
                </a:solidFill>
              </a:rPr>
              <a:t>is used consistently to manage internal referrals as it enables transparency, but it is not intended to replace conversations between teams.</a:t>
            </a:r>
          </a:p>
        </p:txBody>
      </p:sp>
      <p:grpSp>
        <p:nvGrpSpPr>
          <p:cNvPr id="42" name="Group 41">
            <a:extLst>
              <a:ext uri="{FF2B5EF4-FFF2-40B4-BE49-F238E27FC236}">
                <a16:creationId xmlns:a16="http://schemas.microsoft.com/office/drawing/2014/main" id="{9D8CF8E3-C160-E531-4047-9ACCBA92F013}"/>
              </a:ext>
              <a:ext uri="{C183D7F6-B498-43B3-948B-1728B52AA6E4}">
                <adec:decorative xmlns:adec="http://schemas.microsoft.com/office/drawing/2017/decorative" val="1"/>
              </a:ext>
            </a:extLst>
          </p:cNvPr>
          <p:cNvGrpSpPr>
            <a:grpSpLocks/>
          </p:cNvGrpSpPr>
          <p:nvPr/>
        </p:nvGrpSpPr>
        <p:grpSpPr>
          <a:xfrm>
            <a:off x="8227668" y="1264525"/>
            <a:ext cx="434340" cy="272416"/>
            <a:chOff x="0" y="0"/>
            <a:chExt cx="538163" cy="338138"/>
          </a:xfrm>
          <a:solidFill>
            <a:schemeClr val="accent6"/>
          </a:solidFill>
        </p:grpSpPr>
        <p:sp>
          <p:nvSpPr>
            <p:cNvPr id="43" name="Freeform 7">
              <a:extLst>
                <a:ext uri="{FF2B5EF4-FFF2-40B4-BE49-F238E27FC236}">
                  <a16:creationId xmlns:a16="http://schemas.microsoft.com/office/drawing/2014/main" id="{9B71A459-5226-132E-0CF4-520A6AFD5F9D}"/>
                </a:ext>
              </a:extLst>
            </p:cNvPr>
            <p:cNvSpPr>
              <a:spLocks/>
            </p:cNvSpPr>
            <p:nvPr/>
          </p:nvSpPr>
          <p:spPr bwMode="auto">
            <a:xfrm>
              <a:off x="149225" y="50800"/>
              <a:ext cx="242888" cy="239713"/>
            </a:xfrm>
            <a:custGeom>
              <a:avLst/>
              <a:gdLst>
                <a:gd name="T0" fmla="*/ 38 w 76"/>
                <a:gd name="T1" fmla="*/ 0 h 75"/>
                <a:gd name="T2" fmla="*/ 0 w 76"/>
                <a:gd name="T3" fmla="*/ 37 h 75"/>
                <a:gd name="T4" fmla="*/ 38 w 76"/>
                <a:gd name="T5" fmla="*/ 75 h 75"/>
                <a:gd name="T6" fmla="*/ 76 w 76"/>
                <a:gd name="T7" fmla="*/ 37 h 75"/>
                <a:gd name="T8" fmla="*/ 38 w 76"/>
                <a:gd name="T9" fmla="*/ 0 h 75"/>
                <a:gd name="T10" fmla="*/ 38 w 76"/>
                <a:gd name="T11" fmla="*/ 69 h 75"/>
                <a:gd name="T12" fmla="*/ 6 w 76"/>
                <a:gd name="T13" fmla="*/ 37 h 75"/>
                <a:gd name="T14" fmla="*/ 38 w 76"/>
                <a:gd name="T15" fmla="*/ 6 h 75"/>
                <a:gd name="T16" fmla="*/ 69 w 76"/>
                <a:gd name="T17" fmla="*/ 37 h 75"/>
                <a:gd name="T18" fmla="*/ 38 w 76"/>
                <a:gd name="T19" fmla="*/ 6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5">
                  <a:moveTo>
                    <a:pt x="38" y="0"/>
                  </a:moveTo>
                  <a:cubicBezTo>
                    <a:pt x="17" y="0"/>
                    <a:pt x="0" y="17"/>
                    <a:pt x="0" y="37"/>
                  </a:cubicBezTo>
                  <a:cubicBezTo>
                    <a:pt x="0" y="58"/>
                    <a:pt x="18" y="75"/>
                    <a:pt x="38" y="75"/>
                  </a:cubicBezTo>
                  <a:cubicBezTo>
                    <a:pt x="59" y="75"/>
                    <a:pt x="76" y="58"/>
                    <a:pt x="76" y="37"/>
                  </a:cubicBezTo>
                  <a:cubicBezTo>
                    <a:pt x="76" y="17"/>
                    <a:pt x="59" y="0"/>
                    <a:pt x="38" y="0"/>
                  </a:cubicBezTo>
                  <a:close/>
                  <a:moveTo>
                    <a:pt x="38" y="69"/>
                  </a:moveTo>
                  <a:cubicBezTo>
                    <a:pt x="20" y="69"/>
                    <a:pt x="6" y="54"/>
                    <a:pt x="6" y="37"/>
                  </a:cubicBezTo>
                  <a:cubicBezTo>
                    <a:pt x="6" y="20"/>
                    <a:pt x="20" y="6"/>
                    <a:pt x="38" y="6"/>
                  </a:cubicBezTo>
                  <a:cubicBezTo>
                    <a:pt x="55" y="6"/>
                    <a:pt x="69" y="20"/>
                    <a:pt x="69" y="37"/>
                  </a:cubicBezTo>
                  <a:cubicBezTo>
                    <a:pt x="69" y="54"/>
                    <a:pt x="55" y="69"/>
                    <a:pt x="38"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4" name="Freeform 8">
              <a:extLst>
                <a:ext uri="{FF2B5EF4-FFF2-40B4-BE49-F238E27FC236}">
                  <a16:creationId xmlns:a16="http://schemas.microsoft.com/office/drawing/2014/main" id="{E374A21C-7A56-2E5A-8E6B-E9B8CEE3FFE8}"/>
                </a:ext>
              </a:extLst>
            </p:cNvPr>
            <p:cNvSpPr>
              <a:spLocks/>
            </p:cNvSpPr>
            <p:nvPr/>
          </p:nvSpPr>
          <p:spPr bwMode="auto">
            <a:xfrm>
              <a:off x="0" y="0"/>
              <a:ext cx="538163" cy="338138"/>
            </a:xfrm>
            <a:custGeom>
              <a:avLst/>
              <a:gdLst>
                <a:gd name="T0" fmla="*/ 85 w 169"/>
                <a:gd name="T1" fmla="*/ 0 h 106"/>
                <a:gd name="T2" fmla="*/ 0 w 169"/>
                <a:gd name="T3" fmla="*/ 53 h 106"/>
                <a:gd name="T4" fmla="*/ 85 w 169"/>
                <a:gd name="T5" fmla="*/ 106 h 106"/>
                <a:gd name="T6" fmla="*/ 169 w 169"/>
                <a:gd name="T7" fmla="*/ 53 h 106"/>
                <a:gd name="T8" fmla="*/ 85 w 169"/>
                <a:gd name="T9" fmla="*/ 0 h 106"/>
                <a:gd name="T10" fmla="*/ 85 w 169"/>
                <a:gd name="T11" fmla="*/ 100 h 106"/>
                <a:gd name="T12" fmla="*/ 7 w 169"/>
                <a:gd name="T13" fmla="*/ 53 h 106"/>
                <a:gd name="T14" fmla="*/ 85 w 169"/>
                <a:gd name="T15" fmla="*/ 6 h 106"/>
                <a:gd name="T16" fmla="*/ 163 w 169"/>
                <a:gd name="T17" fmla="*/ 53 h 106"/>
                <a:gd name="T18" fmla="*/ 85 w 169"/>
                <a:gd name="T19" fmla="*/ 10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9" h="106">
                  <a:moveTo>
                    <a:pt x="85" y="0"/>
                  </a:moveTo>
                  <a:cubicBezTo>
                    <a:pt x="38" y="0"/>
                    <a:pt x="0" y="38"/>
                    <a:pt x="0" y="53"/>
                  </a:cubicBezTo>
                  <a:cubicBezTo>
                    <a:pt x="0" y="68"/>
                    <a:pt x="38" y="106"/>
                    <a:pt x="85" y="106"/>
                  </a:cubicBezTo>
                  <a:cubicBezTo>
                    <a:pt x="132" y="106"/>
                    <a:pt x="169" y="68"/>
                    <a:pt x="169" y="53"/>
                  </a:cubicBezTo>
                  <a:cubicBezTo>
                    <a:pt x="169" y="38"/>
                    <a:pt x="132" y="0"/>
                    <a:pt x="85" y="0"/>
                  </a:cubicBezTo>
                  <a:close/>
                  <a:moveTo>
                    <a:pt x="85" y="100"/>
                  </a:moveTo>
                  <a:cubicBezTo>
                    <a:pt x="42" y="100"/>
                    <a:pt x="7" y="66"/>
                    <a:pt x="7" y="53"/>
                  </a:cubicBezTo>
                  <a:cubicBezTo>
                    <a:pt x="7" y="40"/>
                    <a:pt x="42" y="6"/>
                    <a:pt x="85" y="6"/>
                  </a:cubicBezTo>
                  <a:cubicBezTo>
                    <a:pt x="129" y="6"/>
                    <a:pt x="163" y="40"/>
                    <a:pt x="163" y="53"/>
                  </a:cubicBezTo>
                  <a:cubicBezTo>
                    <a:pt x="163" y="66"/>
                    <a:pt x="129" y="100"/>
                    <a:pt x="85"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45" name="Group 44">
            <a:extLst>
              <a:ext uri="{FF2B5EF4-FFF2-40B4-BE49-F238E27FC236}">
                <a16:creationId xmlns:a16="http://schemas.microsoft.com/office/drawing/2014/main" id="{4563CDF5-DCA9-E9B9-EDAC-7E40634C30CD}"/>
              </a:ext>
              <a:ext uri="{C183D7F6-B498-43B3-948B-1728B52AA6E4}">
                <adec:decorative xmlns:adec="http://schemas.microsoft.com/office/drawing/2017/decorative" val="1"/>
              </a:ext>
            </a:extLst>
          </p:cNvPr>
          <p:cNvGrpSpPr>
            <a:grpSpLocks/>
          </p:cNvGrpSpPr>
          <p:nvPr/>
        </p:nvGrpSpPr>
        <p:grpSpPr>
          <a:xfrm>
            <a:off x="3198494" y="1277538"/>
            <a:ext cx="480061" cy="288925"/>
            <a:chOff x="0" y="0"/>
            <a:chExt cx="657225" cy="436563"/>
          </a:xfrm>
          <a:solidFill>
            <a:schemeClr val="accent6"/>
          </a:solidFill>
        </p:grpSpPr>
        <p:sp>
          <p:nvSpPr>
            <p:cNvPr id="46" name="Freeform 27">
              <a:extLst>
                <a:ext uri="{FF2B5EF4-FFF2-40B4-BE49-F238E27FC236}">
                  <a16:creationId xmlns:a16="http://schemas.microsoft.com/office/drawing/2014/main" id="{E25298AA-9785-2C7D-1D6F-516BD5001041}"/>
                </a:ext>
              </a:extLst>
            </p:cNvPr>
            <p:cNvSpPr>
              <a:spLocks/>
            </p:cNvSpPr>
            <p:nvPr/>
          </p:nvSpPr>
          <p:spPr bwMode="auto">
            <a:xfrm>
              <a:off x="0" y="0"/>
              <a:ext cx="455613" cy="260350"/>
            </a:xfrm>
            <a:custGeom>
              <a:avLst/>
              <a:gdLst>
                <a:gd name="T0" fmla="*/ 57 w 143"/>
                <a:gd name="T1" fmla="*/ 17 h 81"/>
                <a:gd name="T2" fmla="*/ 73 w 143"/>
                <a:gd name="T3" fmla="*/ 16 h 81"/>
                <a:gd name="T4" fmla="*/ 76 w 143"/>
                <a:gd name="T5" fmla="*/ 15 h 81"/>
                <a:gd name="T6" fmla="*/ 87 w 143"/>
                <a:gd name="T7" fmla="*/ 14 h 81"/>
                <a:gd name="T8" fmla="*/ 137 w 143"/>
                <a:gd name="T9" fmla="*/ 31 h 81"/>
                <a:gd name="T10" fmla="*/ 133 w 143"/>
                <a:gd name="T11" fmla="*/ 38 h 81"/>
                <a:gd name="T12" fmla="*/ 123 w 143"/>
                <a:gd name="T13" fmla="*/ 38 h 81"/>
                <a:gd name="T14" fmla="*/ 101 w 143"/>
                <a:gd name="T15" fmla="*/ 31 h 81"/>
                <a:gd name="T16" fmla="*/ 98 w 143"/>
                <a:gd name="T17" fmla="*/ 31 h 81"/>
                <a:gd name="T18" fmla="*/ 97 w 143"/>
                <a:gd name="T19" fmla="*/ 33 h 81"/>
                <a:gd name="T20" fmla="*/ 83 w 143"/>
                <a:gd name="T21" fmla="*/ 50 h 81"/>
                <a:gd name="T22" fmla="*/ 60 w 143"/>
                <a:gd name="T23" fmla="*/ 51 h 81"/>
                <a:gd name="T24" fmla="*/ 58 w 143"/>
                <a:gd name="T25" fmla="*/ 51 h 81"/>
                <a:gd name="T26" fmla="*/ 56 w 143"/>
                <a:gd name="T27" fmla="*/ 53 h 81"/>
                <a:gd name="T28" fmla="*/ 56 w 143"/>
                <a:gd name="T29" fmla="*/ 55 h 81"/>
                <a:gd name="T30" fmla="*/ 58 w 143"/>
                <a:gd name="T31" fmla="*/ 56 h 81"/>
                <a:gd name="T32" fmla="*/ 86 w 143"/>
                <a:gd name="T33" fmla="*/ 56 h 81"/>
                <a:gd name="T34" fmla="*/ 102 w 143"/>
                <a:gd name="T35" fmla="*/ 38 h 81"/>
                <a:gd name="T36" fmla="*/ 121 w 143"/>
                <a:gd name="T37" fmla="*/ 44 h 81"/>
                <a:gd name="T38" fmla="*/ 136 w 143"/>
                <a:gd name="T39" fmla="*/ 43 h 81"/>
                <a:gd name="T40" fmla="*/ 143 w 143"/>
                <a:gd name="T41" fmla="*/ 29 h 81"/>
                <a:gd name="T42" fmla="*/ 141 w 143"/>
                <a:gd name="T43" fmla="*/ 26 h 81"/>
                <a:gd name="T44" fmla="*/ 89 w 143"/>
                <a:gd name="T45" fmla="*/ 8 h 81"/>
                <a:gd name="T46" fmla="*/ 73 w 143"/>
                <a:gd name="T47" fmla="*/ 9 h 81"/>
                <a:gd name="T48" fmla="*/ 70 w 143"/>
                <a:gd name="T49" fmla="*/ 10 h 81"/>
                <a:gd name="T50" fmla="*/ 59 w 143"/>
                <a:gd name="T51" fmla="*/ 11 h 81"/>
                <a:gd name="T52" fmla="*/ 55 w 143"/>
                <a:gd name="T53" fmla="*/ 9 h 81"/>
                <a:gd name="T54" fmla="*/ 54 w 143"/>
                <a:gd name="T55" fmla="*/ 9 h 81"/>
                <a:gd name="T56" fmla="*/ 27 w 143"/>
                <a:gd name="T57" fmla="*/ 0 h 81"/>
                <a:gd name="T58" fmla="*/ 25 w 143"/>
                <a:gd name="T59" fmla="*/ 0 h 81"/>
                <a:gd name="T60" fmla="*/ 23 w 143"/>
                <a:gd name="T61" fmla="*/ 2 h 81"/>
                <a:gd name="T62" fmla="*/ 1 w 143"/>
                <a:gd name="T63" fmla="*/ 68 h 81"/>
                <a:gd name="T64" fmla="*/ 1 w 143"/>
                <a:gd name="T65" fmla="*/ 70 h 81"/>
                <a:gd name="T66" fmla="*/ 2 w 143"/>
                <a:gd name="T67" fmla="*/ 71 h 81"/>
                <a:gd name="T68" fmla="*/ 29 w 143"/>
                <a:gd name="T69" fmla="*/ 81 h 81"/>
                <a:gd name="T70" fmla="*/ 30 w 143"/>
                <a:gd name="T71" fmla="*/ 81 h 81"/>
                <a:gd name="T72" fmla="*/ 32 w 143"/>
                <a:gd name="T73" fmla="*/ 81 h 81"/>
                <a:gd name="T74" fmla="*/ 33 w 143"/>
                <a:gd name="T75" fmla="*/ 79 h 81"/>
                <a:gd name="T76" fmla="*/ 55 w 143"/>
                <a:gd name="T77" fmla="*/ 16 h 81"/>
                <a:gd name="T78" fmla="*/ 57 w 143"/>
                <a:gd name="T79" fmla="*/ 17 h 81"/>
                <a:gd name="T80" fmla="*/ 49 w 143"/>
                <a:gd name="T81" fmla="*/ 14 h 81"/>
                <a:gd name="T82" fmla="*/ 29 w 143"/>
                <a:gd name="T83" fmla="*/ 74 h 81"/>
                <a:gd name="T84" fmla="*/ 7 w 143"/>
                <a:gd name="T85" fmla="*/ 67 h 81"/>
                <a:gd name="T86" fmla="*/ 28 w 143"/>
                <a:gd name="T87" fmla="*/ 7 h 81"/>
                <a:gd name="T88" fmla="*/ 49 w 143"/>
                <a:gd name="T89" fmla="*/ 1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3" h="81">
                  <a:moveTo>
                    <a:pt x="57" y="17"/>
                  </a:moveTo>
                  <a:cubicBezTo>
                    <a:pt x="62" y="19"/>
                    <a:pt x="68" y="18"/>
                    <a:pt x="73" y="16"/>
                  </a:cubicBezTo>
                  <a:cubicBezTo>
                    <a:pt x="76" y="15"/>
                    <a:pt x="76" y="15"/>
                    <a:pt x="76" y="15"/>
                  </a:cubicBezTo>
                  <a:cubicBezTo>
                    <a:pt x="79" y="13"/>
                    <a:pt x="83" y="13"/>
                    <a:pt x="87" y="14"/>
                  </a:cubicBezTo>
                  <a:cubicBezTo>
                    <a:pt x="137" y="31"/>
                    <a:pt x="137" y="31"/>
                    <a:pt x="137" y="31"/>
                  </a:cubicBezTo>
                  <a:cubicBezTo>
                    <a:pt x="136" y="33"/>
                    <a:pt x="135" y="36"/>
                    <a:pt x="133" y="38"/>
                  </a:cubicBezTo>
                  <a:cubicBezTo>
                    <a:pt x="131" y="40"/>
                    <a:pt x="127" y="40"/>
                    <a:pt x="123" y="38"/>
                  </a:cubicBezTo>
                  <a:cubicBezTo>
                    <a:pt x="101" y="31"/>
                    <a:pt x="101" y="31"/>
                    <a:pt x="101" y="31"/>
                  </a:cubicBezTo>
                  <a:cubicBezTo>
                    <a:pt x="100" y="31"/>
                    <a:pt x="99" y="31"/>
                    <a:pt x="98" y="31"/>
                  </a:cubicBezTo>
                  <a:cubicBezTo>
                    <a:pt x="98" y="31"/>
                    <a:pt x="97" y="32"/>
                    <a:pt x="97" y="33"/>
                  </a:cubicBezTo>
                  <a:cubicBezTo>
                    <a:pt x="96" y="34"/>
                    <a:pt x="93" y="45"/>
                    <a:pt x="83" y="50"/>
                  </a:cubicBezTo>
                  <a:cubicBezTo>
                    <a:pt x="77" y="54"/>
                    <a:pt x="69" y="54"/>
                    <a:pt x="60" y="51"/>
                  </a:cubicBezTo>
                  <a:cubicBezTo>
                    <a:pt x="59" y="50"/>
                    <a:pt x="58" y="50"/>
                    <a:pt x="58" y="51"/>
                  </a:cubicBezTo>
                  <a:cubicBezTo>
                    <a:pt x="57" y="51"/>
                    <a:pt x="56" y="52"/>
                    <a:pt x="56" y="53"/>
                  </a:cubicBezTo>
                  <a:cubicBezTo>
                    <a:pt x="56" y="53"/>
                    <a:pt x="56" y="54"/>
                    <a:pt x="56" y="55"/>
                  </a:cubicBezTo>
                  <a:cubicBezTo>
                    <a:pt x="57" y="56"/>
                    <a:pt x="57" y="56"/>
                    <a:pt x="58" y="56"/>
                  </a:cubicBezTo>
                  <a:cubicBezTo>
                    <a:pt x="69" y="60"/>
                    <a:pt x="78" y="60"/>
                    <a:pt x="86" y="56"/>
                  </a:cubicBezTo>
                  <a:cubicBezTo>
                    <a:pt x="96" y="51"/>
                    <a:pt x="100" y="42"/>
                    <a:pt x="102" y="38"/>
                  </a:cubicBezTo>
                  <a:cubicBezTo>
                    <a:pt x="121" y="44"/>
                    <a:pt x="121" y="44"/>
                    <a:pt x="121" y="44"/>
                  </a:cubicBezTo>
                  <a:cubicBezTo>
                    <a:pt x="127" y="46"/>
                    <a:pt x="132" y="46"/>
                    <a:pt x="136" y="43"/>
                  </a:cubicBezTo>
                  <a:cubicBezTo>
                    <a:pt x="142" y="39"/>
                    <a:pt x="143" y="32"/>
                    <a:pt x="143" y="29"/>
                  </a:cubicBezTo>
                  <a:cubicBezTo>
                    <a:pt x="143" y="28"/>
                    <a:pt x="142" y="27"/>
                    <a:pt x="141" y="26"/>
                  </a:cubicBezTo>
                  <a:cubicBezTo>
                    <a:pt x="89" y="8"/>
                    <a:pt x="89" y="8"/>
                    <a:pt x="89" y="8"/>
                  </a:cubicBezTo>
                  <a:cubicBezTo>
                    <a:pt x="83" y="6"/>
                    <a:pt x="78" y="7"/>
                    <a:pt x="73" y="9"/>
                  </a:cubicBezTo>
                  <a:cubicBezTo>
                    <a:pt x="70" y="10"/>
                    <a:pt x="70" y="10"/>
                    <a:pt x="70" y="10"/>
                  </a:cubicBezTo>
                  <a:cubicBezTo>
                    <a:pt x="67" y="12"/>
                    <a:pt x="63" y="12"/>
                    <a:pt x="59" y="11"/>
                  </a:cubicBezTo>
                  <a:cubicBezTo>
                    <a:pt x="55" y="9"/>
                    <a:pt x="55" y="9"/>
                    <a:pt x="55" y="9"/>
                  </a:cubicBezTo>
                  <a:cubicBezTo>
                    <a:pt x="54" y="9"/>
                    <a:pt x="54" y="9"/>
                    <a:pt x="54" y="9"/>
                  </a:cubicBezTo>
                  <a:cubicBezTo>
                    <a:pt x="27" y="0"/>
                    <a:pt x="27" y="0"/>
                    <a:pt x="27" y="0"/>
                  </a:cubicBezTo>
                  <a:cubicBezTo>
                    <a:pt x="26" y="0"/>
                    <a:pt x="25" y="0"/>
                    <a:pt x="25" y="0"/>
                  </a:cubicBezTo>
                  <a:cubicBezTo>
                    <a:pt x="24" y="0"/>
                    <a:pt x="23" y="1"/>
                    <a:pt x="23" y="2"/>
                  </a:cubicBezTo>
                  <a:cubicBezTo>
                    <a:pt x="1" y="68"/>
                    <a:pt x="1" y="68"/>
                    <a:pt x="1" y="68"/>
                  </a:cubicBezTo>
                  <a:cubicBezTo>
                    <a:pt x="0" y="68"/>
                    <a:pt x="0" y="69"/>
                    <a:pt x="1" y="70"/>
                  </a:cubicBezTo>
                  <a:cubicBezTo>
                    <a:pt x="1" y="71"/>
                    <a:pt x="2" y="71"/>
                    <a:pt x="2" y="71"/>
                  </a:cubicBezTo>
                  <a:cubicBezTo>
                    <a:pt x="29" y="81"/>
                    <a:pt x="29" y="81"/>
                    <a:pt x="29" y="81"/>
                  </a:cubicBezTo>
                  <a:cubicBezTo>
                    <a:pt x="30" y="81"/>
                    <a:pt x="30" y="81"/>
                    <a:pt x="30" y="81"/>
                  </a:cubicBezTo>
                  <a:cubicBezTo>
                    <a:pt x="31" y="81"/>
                    <a:pt x="31" y="81"/>
                    <a:pt x="32" y="81"/>
                  </a:cubicBezTo>
                  <a:cubicBezTo>
                    <a:pt x="32" y="80"/>
                    <a:pt x="33" y="80"/>
                    <a:pt x="33" y="79"/>
                  </a:cubicBezTo>
                  <a:cubicBezTo>
                    <a:pt x="55" y="16"/>
                    <a:pt x="55" y="16"/>
                    <a:pt x="55" y="16"/>
                  </a:cubicBezTo>
                  <a:lnTo>
                    <a:pt x="57" y="17"/>
                  </a:lnTo>
                  <a:close/>
                  <a:moveTo>
                    <a:pt x="49" y="14"/>
                  </a:moveTo>
                  <a:cubicBezTo>
                    <a:pt x="29" y="74"/>
                    <a:pt x="29" y="74"/>
                    <a:pt x="29" y="74"/>
                  </a:cubicBezTo>
                  <a:cubicBezTo>
                    <a:pt x="7" y="67"/>
                    <a:pt x="7" y="67"/>
                    <a:pt x="7" y="67"/>
                  </a:cubicBezTo>
                  <a:cubicBezTo>
                    <a:pt x="28" y="7"/>
                    <a:pt x="28" y="7"/>
                    <a:pt x="28" y="7"/>
                  </a:cubicBezTo>
                  <a:cubicBezTo>
                    <a:pt x="49" y="14"/>
                    <a:pt x="49" y="14"/>
                    <a:pt x="49"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7" name="Freeform 28">
              <a:extLst>
                <a:ext uri="{FF2B5EF4-FFF2-40B4-BE49-F238E27FC236}">
                  <a16:creationId xmlns:a16="http://schemas.microsoft.com/office/drawing/2014/main" id="{7A61E726-112D-DB22-20A8-47B4D4774A94}"/>
                </a:ext>
              </a:extLst>
            </p:cNvPr>
            <p:cNvSpPr>
              <a:spLocks/>
            </p:cNvSpPr>
            <p:nvPr/>
          </p:nvSpPr>
          <p:spPr bwMode="auto">
            <a:xfrm>
              <a:off x="130175" y="0"/>
              <a:ext cx="527050" cy="436563"/>
            </a:xfrm>
            <a:custGeom>
              <a:avLst/>
              <a:gdLst>
                <a:gd name="T0" fmla="*/ 133 w 165"/>
                <a:gd name="T1" fmla="*/ 2 h 136"/>
                <a:gd name="T2" fmla="*/ 129 w 165"/>
                <a:gd name="T3" fmla="*/ 0 h 136"/>
                <a:gd name="T4" fmla="*/ 102 w 165"/>
                <a:gd name="T5" fmla="*/ 17 h 136"/>
                <a:gd name="T6" fmla="*/ 122 w 165"/>
                <a:gd name="T7" fmla="*/ 86 h 136"/>
                <a:gd name="T8" fmla="*/ 98 w 165"/>
                <a:gd name="T9" fmla="*/ 106 h 136"/>
                <a:gd name="T10" fmla="*/ 45 w 165"/>
                <a:gd name="T11" fmla="*/ 130 h 136"/>
                <a:gd name="T12" fmla="*/ 42 w 165"/>
                <a:gd name="T13" fmla="*/ 123 h 136"/>
                <a:gd name="T14" fmla="*/ 72 w 165"/>
                <a:gd name="T15" fmla="*/ 107 h 136"/>
                <a:gd name="T16" fmla="*/ 69 w 165"/>
                <a:gd name="T17" fmla="*/ 101 h 136"/>
                <a:gd name="T18" fmla="*/ 22 w 165"/>
                <a:gd name="T19" fmla="*/ 119 h 136"/>
                <a:gd name="T20" fmla="*/ 63 w 165"/>
                <a:gd name="T21" fmla="*/ 93 h 136"/>
                <a:gd name="T22" fmla="*/ 61 w 165"/>
                <a:gd name="T23" fmla="*/ 87 h 136"/>
                <a:gd name="T24" fmla="*/ 17 w 165"/>
                <a:gd name="T25" fmla="*/ 109 h 136"/>
                <a:gd name="T26" fmla="*/ 10 w 165"/>
                <a:gd name="T27" fmla="*/ 106 h 136"/>
                <a:gd name="T28" fmla="*/ 12 w 165"/>
                <a:gd name="T29" fmla="*/ 99 h 136"/>
                <a:gd name="T30" fmla="*/ 54 w 165"/>
                <a:gd name="T31" fmla="*/ 76 h 136"/>
                <a:gd name="T32" fmla="*/ 14 w 165"/>
                <a:gd name="T33" fmla="*/ 91 h 136"/>
                <a:gd name="T34" fmla="*/ 7 w 165"/>
                <a:gd name="T35" fmla="*/ 89 h 136"/>
                <a:gd name="T36" fmla="*/ 10 w 165"/>
                <a:gd name="T37" fmla="*/ 82 h 136"/>
                <a:gd name="T38" fmla="*/ 30 w 165"/>
                <a:gd name="T39" fmla="*/ 69 h 136"/>
                <a:gd name="T40" fmla="*/ 7 w 165"/>
                <a:gd name="T41" fmla="*/ 77 h 136"/>
                <a:gd name="T42" fmla="*/ 2 w 165"/>
                <a:gd name="T43" fmla="*/ 92 h 136"/>
                <a:gd name="T44" fmla="*/ 4 w 165"/>
                <a:gd name="T45" fmla="*/ 109 h 136"/>
                <a:gd name="T46" fmla="*/ 16 w 165"/>
                <a:gd name="T47" fmla="*/ 121 h 136"/>
                <a:gd name="T48" fmla="*/ 31 w 165"/>
                <a:gd name="T49" fmla="*/ 126 h 136"/>
                <a:gd name="T50" fmla="*/ 36 w 165"/>
                <a:gd name="T51" fmla="*/ 130 h 136"/>
                <a:gd name="T52" fmla="*/ 47 w 165"/>
                <a:gd name="T53" fmla="*/ 136 h 136"/>
                <a:gd name="T54" fmla="*/ 101 w 165"/>
                <a:gd name="T55" fmla="*/ 111 h 136"/>
                <a:gd name="T56" fmla="*/ 127 w 165"/>
                <a:gd name="T57" fmla="*/ 91 h 136"/>
                <a:gd name="T58" fmla="*/ 163 w 165"/>
                <a:gd name="T59" fmla="*/ 68 h 136"/>
                <a:gd name="T60" fmla="*/ 157 w 165"/>
                <a:gd name="T61" fmla="*/ 64 h 136"/>
                <a:gd name="T62" fmla="*/ 109 w 165"/>
                <a:gd name="T63" fmla="*/ 17 h 136"/>
                <a:gd name="T64" fmla="*/ 157 w 165"/>
                <a:gd name="T65" fmla="*/ 6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5" h="136">
                  <a:moveTo>
                    <a:pt x="164" y="64"/>
                  </a:moveTo>
                  <a:cubicBezTo>
                    <a:pt x="133" y="2"/>
                    <a:pt x="133" y="2"/>
                    <a:pt x="133" y="2"/>
                  </a:cubicBezTo>
                  <a:cubicBezTo>
                    <a:pt x="133" y="1"/>
                    <a:pt x="132" y="0"/>
                    <a:pt x="132" y="0"/>
                  </a:cubicBezTo>
                  <a:cubicBezTo>
                    <a:pt x="131" y="0"/>
                    <a:pt x="130" y="0"/>
                    <a:pt x="129" y="0"/>
                  </a:cubicBezTo>
                  <a:cubicBezTo>
                    <a:pt x="104" y="13"/>
                    <a:pt x="104" y="13"/>
                    <a:pt x="104" y="13"/>
                  </a:cubicBezTo>
                  <a:cubicBezTo>
                    <a:pt x="102" y="14"/>
                    <a:pt x="102" y="15"/>
                    <a:pt x="102" y="17"/>
                  </a:cubicBezTo>
                  <a:cubicBezTo>
                    <a:pt x="132" y="77"/>
                    <a:pt x="132" y="77"/>
                    <a:pt x="132" y="77"/>
                  </a:cubicBezTo>
                  <a:cubicBezTo>
                    <a:pt x="122" y="86"/>
                    <a:pt x="122" y="86"/>
                    <a:pt x="122" y="86"/>
                  </a:cubicBezTo>
                  <a:cubicBezTo>
                    <a:pt x="121" y="88"/>
                    <a:pt x="119" y="89"/>
                    <a:pt x="118" y="91"/>
                  </a:cubicBezTo>
                  <a:cubicBezTo>
                    <a:pt x="112" y="96"/>
                    <a:pt x="106" y="102"/>
                    <a:pt x="98" y="106"/>
                  </a:cubicBezTo>
                  <a:cubicBezTo>
                    <a:pt x="49" y="130"/>
                    <a:pt x="49" y="130"/>
                    <a:pt x="49" y="130"/>
                  </a:cubicBezTo>
                  <a:cubicBezTo>
                    <a:pt x="48" y="130"/>
                    <a:pt x="46" y="130"/>
                    <a:pt x="45" y="130"/>
                  </a:cubicBezTo>
                  <a:cubicBezTo>
                    <a:pt x="43" y="129"/>
                    <a:pt x="42" y="128"/>
                    <a:pt x="42" y="127"/>
                  </a:cubicBezTo>
                  <a:cubicBezTo>
                    <a:pt x="41" y="126"/>
                    <a:pt x="41" y="125"/>
                    <a:pt x="42" y="123"/>
                  </a:cubicBezTo>
                  <a:cubicBezTo>
                    <a:pt x="42" y="122"/>
                    <a:pt x="43" y="121"/>
                    <a:pt x="44" y="120"/>
                  </a:cubicBezTo>
                  <a:cubicBezTo>
                    <a:pt x="72" y="107"/>
                    <a:pt x="72" y="107"/>
                    <a:pt x="72" y="107"/>
                  </a:cubicBezTo>
                  <a:cubicBezTo>
                    <a:pt x="73" y="106"/>
                    <a:pt x="74" y="104"/>
                    <a:pt x="73" y="103"/>
                  </a:cubicBezTo>
                  <a:cubicBezTo>
                    <a:pt x="72" y="101"/>
                    <a:pt x="70" y="101"/>
                    <a:pt x="69" y="101"/>
                  </a:cubicBezTo>
                  <a:cubicBezTo>
                    <a:pt x="29" y="121"/>
                    <a:pt x="29" y="121"/>
                    <a:pt x="29" y="121"/>
                  </a:cubicBezTo>
                  <a:cubicBezTo>
                    <a:pt x="26" y="122"/>
                    <a:pt x="23" y="121"/>
                    <a:pt x="22" y="119"/>
                  </a:cubicBezTo>
                  <a:cubicBezTo>
                    <a:pt x="20" y="116"/>
                    <a:pt x="22" y="113"/>
                    <a:pt x="24" y="112"/>
                  </a:cubicBezTo>
                  <a:cubicBezTo>
                    <a:pt x="63" y="93"/>
                    <a:pt x="63" y="93"/>
                    <a:pt x="63" y="93"/>
                  </a:cubicBezTo>
                  <a:cubicBezTo>
                    <a:pt x="65" y="92"/>
                    <a:pt x="66" y="90"/>
                    <a:pt x="65" y="88"/>
                  </a:cubicBezTo>
                  <a:cubicBezTo>
                    <a:pt x="64" y="87"/>
                    <a:pt x="62" y="86"/>
                    <a:pt x="61" y="87"/>
                  </a:cubicBezTo>
                  <a:cubicBezTo>
                    <a:pt x="32" y="101"/>
                    <a:pt x="32" y="101"/>
                    <a:pt x="32" y="101"/>
                  </a:cubicBezTo>
                  <a:cubicBezTo>
                    <a:pt x="17" y="109"/>
                    <a:pt x="17" y="109"/>
                    <a:pt x="17" y="109"/>
                  </a:cubicBezTo>
                  <a:cubicBezTo>
                    <a:pt x="15" y="109"/>
                    <a:pt x="14" y="109"/>
                    <a:pt x="13" y="109"/>
                  </a:cubicBezTo>
                  <a:cubicBezTo>
                    <a:pt x="11" y="108"/>
                    <a:pt x="10" y="107"/>
                    <a:pt x="10" y="106"/>
                  </a:cubicBezTo>
                  <a:cubicBezTo>
                    <a:pt x="9" y="105"/>
                    <a:pt x="9" y="104"/>
                    <a:pt x="9" y="102"/>
                  </a:cubicBezTo>
                  <a:cubicBezTo>
                    <a:pt x="10" y="101"/>
                    <a:pt x="11" y="100"/>
                    <a:pt x="12" y="99"/>
                  </a:cubicBezTo>
                  <a:cubicBezTo>
                    <a:pt x="52" y="80"/>
                    <a:pt x="52" y="80"/>
                    <a:pt x="52" y="80"/>
                  </a:cubicBezTo>
                  <a:cubicBezTo>
                    <a:pt x="54" y="79"/>
                    <a:pt x="54" y="77"/>
                    <a:pt x="54" y="76"/>
                  </a:cubicBezTo>
                  <a:cubicBezTo>
                    <a:pt x="53" y="74"/>
                    <a:pt x="51" y="73"/>
                    <a:pt x="49" y="74"/>
                  </a:cubicBezTo>
                  <a:cubicBezTo>
                    <a:pt x="14" y="91"/>
                    <a:pt x="14" y="91"/>
                    <a:pt x="14" y="91"/>
                  </a:cubicBezTo>
                  <a:cubicBezTo>
                    <a:pt x="13" y="92"/>
                    <a:pt x="12" y="92"/>
                    <a:pt x="10" y="92"/>
                  </a:cubicBezTo>
                  <a:cubicBezTo>
                    <a:pt x="9" y="91"/>
                    <a:pt x="8" y="90"/>
                    <a:pt x="7" y="89"/>
                  </a:cubicBezTo>
                  <a:cubicBezTo>
                    <a:pt x="7" y="88"/>
                    <a:pt x="7" y="86"/>
                    <a:pt x="7" y="85"/>
                  </a:cubicBezTo>
                  <a:cubicBezTo>
                    <a:pt x="8" y="84"/>
                    <a:pt x="8" y="83"/>
                    <a:pt x="10" y="82"/>
                  </a:cubicBezTo>
                  <a:cubicBezTo>
                    <a:pt x="28" y="73"/>
                    <a:pt x="28" y="73"/>
                    <a:pt x="28" y="73"/>
                  </a:cubicBezTo>
                  <a:cubicBezTo>
                    <a:pt x="30" y="72"/>
                    <a:pt x="31" y="70"/>
                    <a:pt x="30" y="69"/>
                  </a:cubicBezTo>
                  <a:cubicBezTo>
                    <a:pt x="29" y="67"/>
                    <a:pt x="27" y="67"/>
                    <a:pt x="26" y="67"/>
                  </a:cubicBezTo>
                  <a:cubicBezTo>
                    <a:pt x="7" y="77"/>
                    <a:pt x="7" y="77"/>
                    <a:pt x="7" y="77"/>
                  </a:cubicBezTo>
                  <a:cubicBezTo>
                    <a:pt x="4" y="78"/>
                    <a:pt x="2" y="80"/>
                    <a:pt x="1" y="83"/>
                  </a:cubicBezTo>
                  <a:cubicBezTo>
                    <a:pt x="0" y="86"/>
                    <a:pt x="1" y="89"/>
                    <a:pt x="2" y="92"/>
                  </a:cubicBezTo>
                  <a:cubicBezTo>
                    <a:pt x="3" y="94"/>
                    <a:pt x="4" y="95"/>
                    <a:pt x="6" y="96"/>
                  </a:cubicBezTo>
                  <a:cubicBezTo>
                    <a:pt x="3" y="100"/>
                    <a:pt x="2" y="105"/>
                    <a:pt x="4" y="109"/>
                  </a:cubicBezTo>
                  <a:cubicBezTo>
                    <a:pt x="6" y="113"/>
                    <a:pt x="11" y="115"/>
                    <a:pt x="15" y="115"/>
                  </a:cubicBezTo>
                  <a:cubicBezTo>
                    <a:pt x="15" y="117"/>
                    <a:pt x="15" y="119"/>
                    <a:pt x="16" y="121"/>
                  </a:cubicBezTo>
                  <a:cubicBezTo>
                    <a:pt x="18" y="125"/>
                    <a:pt x="22" y="128"/>
                    <a:pt x="26" y="128"/>
                  </a:cubicBezTo>
                  <a:cubicBezTo>
                    <a:pt x="28" y="128"/>
                    <a:pt x="30" y="127"/>
                    <a:pt x="31" y="126"/>
                  </a:cubicBezTo>
                  <a:cubicBezTo>
                    <a:pt x="35" y="125"/>
                    <a:pt x="35" y="125"/>
                    <a:pt x="35" y="125"/>
                  </a:cubicBezTo>
                  <a:cubicBezTo>
                    <a:pt x="35" y="126"/>
                    <a:pt x="36" y="128"/>
                    <a:pt x="36" y="130"/>
                  </a:cubicBezTo>
                  <a:cubicBezTo>
                    <a:pt x="38" y="133"/>
                    <a:pt x="40" y="135"/>
                    <a:pt x="43" y="136"/>
                  </a:cubicBezTo>
                  <a:cubicBezTo>
                    <a:pt x="44" y="136"/>
                    <a:pt x="45" y="136"/>
                    <a:pt x="47" y="136"/>
                  </a:cubicBezTo>
                  <a:cubicBezTo>
                    <a:pt x="48" y="136"/>
                    <a:pt x="50" y="136"/>
                    <a:pt x="52" y="135"/>
                  </a:cubicBezTo>
                  <a:cubicBezTo>
                    <a:pt x="101" y="111"/>
                    <a:pt x="101" y="111"/>
                    <a:pt x="101" y="111"/>
                  </a:cubicBezTo>
                  <a:cubicBezTo>
                    <a:pt x="110" y="107"/>
                    <a:pt x="115" y="101"/>
                    <a:pt x="122" y="95"/>
                  </a:cubicBezTo>
                  <a:cubicBezTo>
                    <a:pt x="123" y="94"/>
                    <a:pt x="125" y="92"/>
                    <a:pt x="127" y="91"/>
                  </a:cubicBezTo>
                  <a:cubicBezTo>
                    <a:pt x="138" y="81"/>
                    <a:pt x="138" y="81"/>
                    <a:pt x="138" y="81"/>
                  </a:cubicBezTo>
                  <a:cubicBezTo>
                    <a:pt x="163" y="68"/>
                    <a:pt x="163" y="68"/>
                    <a:pt x="163" y="68"/>
                  </a:cubicBezTo>
                  <a:cubicBezTo>
                    <a:pt x="164" y="67"/>
                    <a:pt x="165" y="66"/>
                    <a:pt x="164" y="64"/>
                  </a:cubicBezTo>
                  <a:close/>
                  <a:moveTo>
                    <a:pt x="157" y="64"/>
                  </a:moveTo>
                  <a:cubicBezTo>
                    <a:pt x="137" y="74"/>
                    <a:pt x="137" y="74"/>
                    <a:pt x="137" y="74"/>
                  </a:cubicBezTo>
                  <a:cubicBezTo>
                    <a:pt x="109" y="17"/>
                    <a:pt x="109" y="17"/>
                    <a:pt x="109" y="17"/>
                  </a:cubicBezTo>
                  <a:cubicBezTo>
                    <a:pt x="129" y="7"/>
                    <a:pt x="129" y="7"/>
                    <a:pt x="129" y="7"/>
                  </a:cubicBezTo>
                  <a:lnTo>
                    <a:pt x="157"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48" name="Graphic 3">
            <a:extLst>
              <a:ext uri="{FF2B5EF4-FFF2-40B4-BE49-F238E27FC236}">
                <a16:creationId xmlns:a16="http://schemas.microsoft.com/office/drawing/2014/main" id="{72B6E0CB-EAD7-4F4B-62B7-0675E5662486}"/>
              </a:ext>
              <a:ext uri="{C183D7F6-B498-43B3-948B-1728B52AA6E4}">
                <adec:decorative xmlns:adec="http://schemas.microsoft.com/office/drawing/2017/decorative" val="1"/>
              </a:ext>
            </a:extLst>
          </p:cNvPr>
          <p:cNvGrpSpPr>
            <a:grpSpLocks/>
          </p:cNvGrpSpPr>
          <p:nvPr/>
        </p:nvGrpSpPr>
        <p:grpSpPr>
          <a:xfrm>
            <a:off x="5814537" y="1232770"/>
            <a:ext cx="320040" cy="378460"/>
            <a:chOff x="123" y="18"/>
            <a:chExt cx="535090" cy="641456"/>
          </a:xfrm>
          <a:solidFill>
            <a:schemeClr val="accent6"/>
          </a:solidFill>
        </p:grpSpPr>
        <p:sp>
          <p:nvSpPr>
            <p:cNvPr id="49" name="Freeform: Shape 48">
              <a:extLst>
                <a:ext uri="{FF2B5EF4-FFF2-40B4-BE49-F238E27FC236}">
                  <a16:creationId xmlns:a16="http://schemas.microsoft.com/office/drawing/2014/main" id="{A3827C15-DD3B-FA9B-D4D0-86E46F212B69}"/>
                </a:ext>
              </a:extLst>
            </p:cNvPr>
            <p:cNvSpPr>
              <a:spLocks/>
            </p:cNvSpPr>
            <p:nvPr/>
          </p:nvSpPr>
          <p:spPr>
            <a:xfrm>
              <a:off x="280744" y="80330"/>
              <a:ext cx="254469" cy="561144"/>
            </a:xfrm>
            <a:custGeom>
              <a:avLst/>
              <a:gdLst>
                <a:gd name="connsiteX0" fmla="*/ 204520 w 254469"/>
                <a:gd name="connsiteY0" fmla="*/ 348355 h 561144"/>
                <a:gd name="connsiteX1" fmla="*/ 31106 w 254469"/>
                <a:gd name="connsiteY1" fmla="*/ 480655 h 561144"/>
                <a:gd name="connsiteX2" fmla="*/ 73938 w 254469"/>
                <a:gd name="connsiteY2" fmla="*/ 393028 h 561144"/>
                <a:gd name="connsiteX3" fmla="*/ 70992 w 254469"/>
                <a:gd name="connsiteY3" fmla="*/ 377564 h 561144"/>
                <a:gd name="connsiteX4" fmla="*/ 54179 w 254469"/>
                <a:gd name="connsiteY4" fmla="*/ 383332 h 561144"/>
                <a:gd name="connsiteX5" fmla="*/ 1651 w 254469"/>
                <a:gd name="connsiteY5" fmla="*/ 490718 h 561144"/>
                <a:gd name="connsiteX6" fmla="*/ 7420 w 254469"/>
                <a:gd name="connsiteY6" fmla="*/ 507532 h 561144"/>
                <a:gd name="connsiteX7" fmla="*/ 114806 w 254469"/>
                <a:gd name="connsiteY7" fmla="*/ 560059 h 561144"/>
                <a:gd name="connsiteX8" fmla="*/ 131620 w 254469"/>
                <a:gd name="connsiteY8" fmla="*/ 554291 h 561144"/>
                <a:gd name="connsiteX9" fmla="*/ 125851 w 254469"/>
                <a:gd name="connsiteY9" fmla="*/ 537477 h 561144"/>
                <a:gd name="connsiteX10" fmla="*/ 49515 w 254469"/>
                <a:gd name="connsiteY10" fmla="*/ 500168 h 561144"/>
                <a:gd name="connsiteX11" fmla="*/ 227101 w 254469"/>
                <a:gd name="connsiteY11" fmla="*/ 359400 h 561144"/>
                <a:gd name="connsiteX12" fmla="*/ 104497 w 254469"/>
                <a:gd name="connsiteY12" fmla="*/ 1651 h 561144"/>
                <a:gd name="connsiteX13" fmla="*/ 87683 w 254469"/>
                <a:gd name="connsiteY13" fmla="*/ 7420 h 561144"/>
                <a:gd name="connsiteX14" fmla="*/ 94801 w 254469"/>
                <a:gd name="connsiteY14" fmla="*/ 21410 h 561144"/>
                <a:gd name="connsiteX15" fmla="*/ 204520 w 254469"/>
                <a:gd name="connsiteY15" fmla="*/ 348355 h 561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4469" h="561144">
                  <a:moveTo>
                    <a:pt x="204520" y="348355"/>
                  </a:moveTo>
                  <a:cubicBezTo>
                    <a:pt x="169911" y="419046"/>
                    <a:pt x="105601" y="464577"/>
                    <a:pt x="31106" y="480655"/>
                  </a:cubicBezTo>
                  <a:cubicBezTo>
                    <a:pt x="73938" y="393028"/>
                    <a:pt x="73938" y="393028"/>
                    <a:pt x="73938" y="393028"/>
                  </a:cubicBezTo>
                  <a:cubicBezTo>
                    <a:pt x="78110" y="384559"/>
                    <a:pt x="76638" y="380387"/>
                    <a:pt x="70992" y="377564"/>
                  </a:cubicBezTo>
                  <a:cubicBezTo>
                    <a:pt x="62524" y="373391"/>
                    <a:pt x="58351" y="374864"/>
                    <a:pt x="54179" y="383332"/>
                  </a:cubicBezTo>
                  <a:cubicBezTo>
                    <a:pt x="1651" y="490718"/>
                    <a:pt x="1651" y="490718"/>
                    <a:pt x="1651" y="490718"/>
                  </a:cubicBezTo>
                  <a:cubicBezTo>
                    <a:pt x="-1171" y="496364"/>
                    <a:pt x="-1049" y="503359"/>
                    <a:pt x="7420" y="507532"/>
                  </a:cubicBezTo>
                  <a:cubicBezTo>
                    <a:pt x="114806" y="560059"/>
                    <a:pt x="114806" y="560059"/>
                    <a:pt x="114806" y="560059"/>
                  </a:cubicBezTo>
                  <a:cubicBezTo>
                    <a:pt x="120451" y="562882"/>
                    <a:pt x="128920" y="559936"/>
                    <a:pt x="131620" y="554291"/>
                  </a:cubicBezTo>
                  <a:cubicBezTo>
                    <a:pt x="134320" y="548645"/>
                    <a:pt x="131497" y="540177"/>
                    <a:pt x="125851" y="537477"/>
                  </a:cubicBezTo>
                  <a:cubicBezTo>
                    <a:pt x="49515" y="500168"/>
                    <a:pt x="49515" y="500168"/>
                    <a:pt x="49515" y="500168"/>
                  </a:cubicBezTo>
                  <a:cubicBezTo>
                    <a:pt x="124010" y="484091"/>
                    <a:pt x="191020" y="432791"/>
                    <a:pt x="227101" y="359400"/>
                  </a:cubicBezTo>
                  <a:cubicBezTo>
                    <a:pt x="292147" y="226610"/>
                    <a:pt x="237288" y="66697"/>
                    <a:pt x="104497" y="1651"/>
                  </a:cubicBezTo>
                  <a:cubicBezTo>
                    <a:pt x="98851" y="-1171"/>
                    <a:pt x="91856" y="-1049"/>
                    <a:pt x="87683" y="7420"/>
                  </a:cubicBezTo>
                  <a:cubicBezTo>
                    <a:pt x="84861" y="13065"/>
                    <a:pt x="89156" y="18710"/>
                    <a:pt x="94801" y="21410"/>
                  </a:cubicBezTo>
                  <a:cubicBezTo>
                    <a:pt x="216301" y="80933"/>
                    <a:pt x="263920" y="226855"/>
                    <a:pt x="204520" y="348355"/>
                  </a:cubicBezTo>
                </a:path>
              </a:pathLst>
            </a:custGeom>
            <a:grpFill/>
            <a:ln w="12123" cap="flat">
              <a:noFill/>
              <a:prstDash val="solid"/>
              <a:miter/>
            </a:ln>
          </p:spPr>
          <p:txBody>
            <a:bodyPr rtlCol="0" anchor="ctr"/>
            <a:lstStyle/>
            <a:p>
              <a:endParaRPr lang="en-AU"/>
            </a:p>
          </p:txBody>
        </p:sp>
        <p:sp>
          <p:nvSpPr>
            <p:cNvPr id="50" name="Freeform: Shape 49">
              <a:extLst>
                <a:ext uri="{FF2B5EF4-FFF2-40B4-BE49-F238E27FC236}">
                  <a16:creationId xmlns:a16="http://schemas.microsoft.com/office/drawing/2014/main" id="{B20F9029-A748-311D-FD2F-91F6629FC8DA}"/>
                </a:ext>
              </a:extLst>
            </p:cNvPr>
            <p:cNvSpPr>
              <a:spLocks/>
            </p:cNvSpPr>
            <p:nvPr/>
          </p:nvSpPr>
          <p:spPr>
            <a:xfrm>
              <a:off x="123" y="18"/>
              <a:ext cx="255976" cy="563402"/>
            </a:xfrm>
            <a:custGeom>
              <a:avLst/>
              <a:gdLst>
                <a:gd name="connsiteX0" fmla="*/ 166786 w 255976"/>
                <a:gd name="connsiteY0" fmla="*/ 556548 h 563402"/>
                <a:gd name="connsiteX1" fmla="*/ 161018 w 255976"/>
                <a:gd name="connsiteY1" fmla="*/ 539734 h 563402"/>
                <a:gd name="connsiteX2" fmla="*/ 49950 w 255976"/>
                <a:gd name="connsiteY2" fmla="*/ 215613 h 563402"/>
                <a:gd name="connsiteX3" fmla="*/ 223241 w 255976"/>
                <a:gd name="connsiteY3" fmla="*/ 83313 h 563402"/>
                <a:gd name="connsiteX4" fmla="*/ 180409 w 255976"/>
                <a:gd name="connsiteY4" fmla="*/ 170940 h 563402"/>
                <a:gd name="connsiteX5" fmla="*/ 186177 w 255976"/>
                <a:gd name="connsiteY5" fmla="*/ 187754 h 563402"/>
                <a:gd name="connsiteX6" fmla="*/ 200168 w 255976"/>
                <a:gd name="connsiteY6" fmla="*/ 180636 h 563402"/>
                <a:gd name="connsiteX7" fmla="*/ 254168 w 255976"/>
                <a:gd name="connsiteY7" fmla="*/ 70427 h 563402"/>
                <a:gd name="connsiteX8" fmla="*/ 251222 w 255976"/>
                <a:gd name="connsiteY8" fmla="*/ 54963 h 563402"/>
                <a:gd name="connsiteX9" fmla="*/ 141013 w 255976"/>
                <a:gd name="connsiteY9" fmla="*/ 1086 h 563402"/>
                <a:gd name="connsiteX10" fmla="*/ 124200 w 255976"/>
                <a:gd name="connsiteY10" fmla="*/ 6854 h 563402"/>
                <a:gd name="connsiteX11" fmla="*/ 129968 w 255976"/>
                <a:gd name="connsiteY11" fmla="*/ 23668 h 563402"/>
                <a:gd name="connsiteX12" fmla="*/ 206304 w 255976"/>
                <a:gd name="connsiteY12" fmla="*/ 60977 h 563402"/>
                <a:gd name="connsiteX13" fmla="*/ 27368 w 255976"/>
                <a:gd name="connsiteY13" fmla="*/ 204567 h 563402"/>
                <a:gd name="connsiteX14" fmla="*/ 149972 w 255976"/>
                <a:gd name="connsiteY14" fmla="*/ 562316 h 563402"/>
                <a:gd name="connsiteX15" fmla="*/ 166786 w 255976"/>
                <a:gd name="connsiteY15" fmla="*/ 556548 h 563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5976" h="563402">
                  <a:moveTo>
                    <a:pt x="166786" y="556548"/>
                  </a:moveTo>
                  <a:cubicBezTo>
                    <a:pt x="169609" y="550903"/>
                    <a:pt x="166663" y="542435"/>
                    <a:pt x="161018" y="539734"/>
                  </a:cubicBezTo>
                  <a:cubicBezTo>
                    <a:pt x="39518" y="480212"/>
                    <a:pt x="-8223" y="334290"/>
                    <a:pt x="49950" y="215613"/>
                  </a:cubicBezTo>
                  <a:cubicBezTo>
                    <a:pt x="85786" y="142222"/>
                    <a:pt x="150095" y="96690"/>
                    <a:pt x="223241" y="83313"/>
                  </a:cubicBezTo>
                  <a:cubicBezTo>
                    <a:pt x="180409" y="170940"/>
                    <a:pt x="180409" y="170940"/>
                    <a:pt x="180409" y="170940"/>
                  </a:cubicBezTo>
                  <a:cubicBezTo>
                    <a:pt x="177586" y="176586"/>
                    <a:pt x="177709" y="183581"/>
                    <a:pt x="186177" y="187754"/>
                  </a:cubicBezTo>
                  <a:cubicBezTo>
                    <a:pt x="191822" y="190576"/>
                    <a:pt x="197468" y="186281"/>
                    <a:pt x="200168" y="180636"/>
                  </a:cubicBezTo>
                  <a:cubicBezTo>
                    <a:pt x="254168" y="70427"/>
                    <a:pt x="254168" y="70427"/>
                    <a:pt x="254168" y="70427"/>
                  </a:cubicBezTo>
                  <a:cubicBezTo>
                    <a:pt x="256991" y="64781"/>
                    <a:pt x="256868" y="57786"/>
                    <a:pt x="251222" y="54963"/>
                  </a:cubicBezTo>
                  <a:cubicBezTo>
                    <a:pt x="141013" y="1086"/>
                    <a:pt x="141013" y="1086"/>
                    <a:pt x="141013" y="1086"/>
                  </a:cubicBezTo>
                  <a:cubicBezTo>
                    <a:pt x="135368" y="-1737"/>
                    <a:pt x="126900" y="1209"/>
                    <a:pt x="124200" y="6854"/>
                  </a:cubicBezTo>
                  <a:cubicBezTo>
                    <a:pt x="121377" y="12500"/>
                    <a:pt x="124322" y="20968"/>
                    <a:pt x="129968" y="23668"/>
                  </a:cubicBezTo>
                  <a:cubicBezTo>
                    <a:pt x="206304" y="60977"/>
                    <a:pt x="206304" y="60977"/>
                    <a:pt x="206304" y="60977"/>
                  </a:cubicBezTo>
                  <a:cubicBezTo>
                    <a:pt x="130459" y="79877"/>
                    <a:pt x="64800" y="128354"/>
                    <a:pt x="27368" y="204567"/>
                  </a:cubicBezTo>
                  <a:cubicBezTo>
                    <a:pt x="-37678" y="337358"/>
                    <a:pt x="17181" y="497271"/>
                    <a:pt x="149972" y="562316"/>
                  </a:cubicBezTo>
                  <a:cubicBezTo>
                    <a:pt x="155495" y="565139"/>
                    <a:pt x="163963" y="562194"/>
                    <a:pt x="166786" y="556548"/>
                  </a:cubicBezTo>
                </a:path>
              </a:pathLst>
            </a:custGeom>
            <a:grpFill/>
            <a:ln w="12123" cap="flat">
              <a:noFill/>
              <a:prstDash val="solid"/>
              <a:miter/>
            </a:ln>
          </p:spPr>
          <p:txBody>
            <a:bodyPr rtlCol="0" anchor="ctr"/>
            <a:lstStyle/>
            <a:p>
              <a:endParaRPr lang="en-AU"/>
            </a:p>
          </p:txBody>
        </p:sp>
      </p:grpSp>
      <p:grpSp>
        <p:nvGrpSpPr>
          <p:cNvPr id="51" name="Group 50">
            <a:extLst>
              <a:ext uri="{FF2B5EF4-FFF2-40B4-BE49-F238E27FC236}">
                <a16:creationId xmlns:a16="http://schemas.microsoft.com/office/drawing/2014/main" id="{09A6755F-6E89-E6AC-20DF-D3CA35CC271B}"/>
              </a:ext>
              <a:ext uri="{C183D7F6-B498-43B3-948B-1728B52AA6E4}">
                <adec:decorative xmlns:adec="http://schemas.microsoft.com/office/drawing/2017/decorative" val="1"/>
              </a:ext>
            </a:extLst>
          </p:cNvPr>
          <p:cNvGrpSpPr>
            <a:grpSpLocks/>
          </p:cNvGrpSpPr>
          <p:nvPr/>
        </p:nvGrpSpPr>
        <p:grpSpPr bwMode="auto">
          <a:xfrm>
            <a:off x="665584" y="1192135"/>
            <a:ext cx="466096" cy="419095"/>
            <a:chOff x="0" y="0"/>
            <a:chExt cx="456" cy="425"/>
          </a:xfrm>
          <a:solidFill>
            <a:schemeClr val="bg1"/>
          </a:solidFill>
        </p:grpSpPr>
        <p:sp>
          <p:nvSpPr>
            <p:cNvPr id="52" name="Oval 51">
              <a:extLst>
                <a:ext uri="{FF2B5EF4-FFF2-40B4-BE49-F238E27FC236}">
                  <a16:creationId xmlns:a16="http://schemas.microsoft.com/office/drawing/2014/main" id="{F9F488C0-95D9-AFA8-8022-1357EB4DC211}"/>
                </a:ext>
              </a:extLst>
            </p:cNvPr>
            <p:cNvSpPr>
              <a:spLocks/>
            </p:cNvSpPr>
            <p:nvPr/>
          </p:nvSpPr>
          <p:spPr bwMode="auto">
            <a:xfrm>
              <a:off x="0" y="197"/>
              <a:ext cx="28"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3" name="Freeform 33">
              <a:extLst>
                <a:ext uri="{FF2B5EF4-FFF2-40B4-BE49-F238E27FC236}">
                  <a16:creationId xmlns:a16="http://schemas.microsoft.com/office/drawing/2014/main" id="{F3C5F505-C537-58F0-65AB-3ECFFD8FFA34}"/>
                </a:ext>
              </a:extLst>
            </p:cNvPr>
            <p:cNvSpPr>
              <a:spLocks/>
            </p:cNvSpPr>
            <p:nvPr/>
          </p:nvSpPr>
          <p:spPr bwMode="auto">
            <a:xfrm>
              <a:off x="41" y="207"/>
              <a:ext cx="73" cy="13"/>
            </a:xfrm>
            <a:custGeom>
              <a:avLst/>
              <a:gdLst>
                <a:gd name="T0" fmla="*/ 33 w 36"/>
                <a:gd name="T1" fmla="*/ 6 h 6"/>
                <a:gd name="T2" fmla="*/ 36 w 36"/>
                <a:gd name="T3" fmla="*/ 3 h 6"/>
                <a:gd name="T4" fmla="*/ 33 w 36"/>
                <a:gd name="T5" fmla="*/ 0 h 6"/>
                <a:gd name="T6" fmla="*/ 3 w 36"/>
                <a:gd name="T7" fmla="*/ 0 h 6"/>
                <a:gd name="T8" fmla="*/ 0 w 36"/>
                <a:gd name="T9" fmla="*/ 3 h 6"/>
                <a:gd name="T10" fmla="*/ 3 w 36"/>
                <a:gd name="T11" fmla="*/ 6 h 6"/>
                <a:gd name="T12" fmla="*/ 33 w 3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36" h="6">
                  <a:moveTo>
                    <a:pt x="33" y="6"/>
                  </a:moveTo>
                  <a:cubicBezTo>
                    <a:pt x="35" y="6"/>
                    <a:pt x="36" y="4"/>
                    <a:pt x="36" y="3"/>
                  </a:cubicBezTo>
                  <a:cubicBezTo>
                    <a:pt x="36" y="1"/>
                    <a:pt x="35" y="0"/>
                    <a:pt x="33" y="0"/>
                  </a:cubicBezTo>
                  <a:cubicBezTo>
                    <a:pt x="3" y="0"/>
                    <a:pt x="3" y="0"/>
                    <a:pt x="3" y="0"/>
                  </a:cubicBezTo>
                  <a:cubicBezTo>
                    <a:pt x="1" y="0"/>
                    <a:pt x="0" y="1"/>
                    <a:pt x="0" y="3"/>
                  </a:cubicBezTo>
                  <a:cubicBezTo>
                    <a:pt x="0" y="4"/>
                    <a:pt x="1" y="6"/>
                    <a:pt x="3" y="6"/>
                  </a:cubicBezTo>
                  <a:lnTo>
                    <a:pt x="33"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4" name="Oval 53">
              <a:extLst>
                <a:ext uri="{FF2B5EF4-FFF2-40B4-BE49-F238E27FC236}">
                  <a16:creationId xmlns:a16="http://schemas.microsoft.com/office/drawing/2014/main" id="{ECF8D236-AB14-6F28-2D0E-73DB4259501C}"/>
                </a:ext>
              </a:extLst>
            </p:cNvPr>
            <p:cNvSpPr>
              <a:spLocks/>
            </p:cNvSpPr>
            <p:nvPr/>
          </p:nvSpPr>
          <p:spPr bwMode="auto">
            <a:xfrm>
              <a:off x="427" y="197"/>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5" name="Freeform 35">
              <a:extLst>
                <a:ext uri="{FF2B5EF4-FFF2-40B4-BE49-F238E27FC236}">
                  <a16:creationId xmlns:a16="http://schemas.microsoft.com/office/drawing/2014/main" id="{4ABDDB9C-6C99-5E55-7B5A-675ED0AE59BB}"/>
                </a:ext>
              </a:extLst>
            </p:cNvPr>
            <p:cNvSpPr>
              <a:spLocks/>
            </p:cNvSpPr>
            <p:nvPr/>
          </p:nvSpPr>
          <p:spPr bwMode="auto">
            <a:xfrm>
              <a:off x="340" y="207"/>
              <a:ext cx="75" cy="13"/>
            </a:xfrm>
            <a:custGeom>
              <a:avLst/>
              <a:gdLst>
                <a:gd name="T0" fmla="*/ 34 w 37"/>
                <a:gd name="T1" fmla="*/ 0 h 6"/>
                <a:gd name="T2" fmla="*/ 3 w 37"/>
                <a:gd name="T3" fmla="*/ 0 h 6"/>
                <a:gd name="T4" fmla="*/ 0 w 37"/>
                <a:gd name="T5" fmla="*/ 3 h 6"/>
                <a:gd name="T6" fmla="*/ 3 w 37"/>
                <a:gd name="T7" fmla="*/ 6 h 6"/>
                <a:gd name="T8" fmla="*/ 34 w 37"/>
                <a:gd name="T9" fmla="*/ 6 h 6"/>
                <a:gd name="T10" fmla="*/ 37 w 37"/>
                <a:gd name="T11" fmla="*/ 3 h 6"/>
                <a:gd name="T12" fmla="*/ 34 w 37"/>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7" h="6">
                  <a:moveTo>
                    <a:pt x="34" y="0"/>
                  </a:moveTo>
                  <a:cubicBezTo>
                    <a:pt x="3" y="0"/>
                    <a:pt x="3" y="0"/>
                    <a:pt x="3" y="0"/>
                  </a:cubicBezTo>
                  <a:cubicBezTo>
                    <a:pt x="2" y="0"/>
                    <a:pt x="0" y="1"/>
                    <a:pt x="0" y="3"/>
                  </a:cubicBezTo>
                  <a:cubicBezTo>
                    <a:pt x="0" y="4"/>
                    <a:pt x="2" y="6"/>
                    <a:pt x="3" y="6"/>
                  </a:cubicBezTo>
                  <a:cubicBezTo>
                    <a:pt x="34" y="6"/>
                    <a:pt x="34" y="6"/>
                    <a:pt x="34" y="6"/>
                  </a:cubicBezTo>
                  <a:cubicBezTo>
                    <a:pt x="36" y="6"/>
                    <a:pt x="37" y="4"/>
                    <a:pt x="37" y="3"/>
                  </a:cubicBezTo>
                  <a:cubicBezTo>
                    <a:pt x="37" y="1"/>
                    <a:pt x="36" y="0"/>
                    <a:pt x="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6" name="Oval 55">
              <a:extLst>
                <a:ext uri="{FF2B5EF4-FFF2-40B4-BE49-F238E27FC236}">
                  <a16:creationId xmlns:a16="http://schemas.microsoft.com/office/drawing/2014/main" id="{040A9438-4171-4C83-6F61-7176FC4460A7}"/>
                </a:ext>
              </a:extLst>
            </p:cNvPr>
            <p:cNvSpPr>
              <a:spLocks/>
            </p:cNvSpPr>
            <p:nvPr/>
          </p:nvSpPr>
          <p:spPr bwMode="auto">
            <a:xfrm>
              <a:off x="214" y="394"/>
              <a:ext cx="28" cy="3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7" name="Freeform 37">
              <a:extLst>
                <a:ext uri="{FF2B5EF4-FFF2-40B4-BE49-F238E27FC236}">
                  <a16:creationId xmlns:a16="http://schemas.microsoft.com/office/drawing/2014/main" id="{9D6B3372-884B-6D3F-C179-3C41830313B6}"/>
                </a:ext>
              </a:extLst>
            </p:cNvPr>
            <p:cNvSpPr>
              <a:spLocks/>
            </p:cNvSpPr>
            <p:nvPr/>
          </p:nvSpPr>
          <p:spPr bwMode="auto">
            <a:xfrm>
              <a:off x="222" y="325"/>
              <a:ext cx="12" cy="59"/>
            </a:xfrm>
            <a:custGeom>
              <a:avLst/>
              <a:gdLst>
                <a:gd name="T0" fmla="*/ 6 w 6"/>
                <a:gd name="T1" fmla="*/ 26 h 29"/>
                <a:gd name="T2" fmla="*/ 6 w 6"/>
                <a:gd name="T3" fmla="*/ 3 h 29"/>
                <a:gd name="T4" fmla="*/ 3 w 6"/>
                <a:gd name="T5" fmla="*/ 0 h 29"/>
                <a:gd name="T6" fmla="*/ 0 w 6"/>
                <a:gd name="T7" fmla="*/ 3 h 29"/>
                <a:gd name="T8" fmla="*/ 0 w 6"/>
                <a:gd name="T9" fmla="*/ 26 h 29"/>
                <a:gd name="T10" fmla="*/ 3 w 6"/>
                <a:gd name="T11" fmla="*/ 29 h 29"/>
                <a:gd name="T12" fmla="*/ 6 w 6"/>
                <a:gd name="T13" fmla="*/ 26 h 29"/>
              </a:gdLst>
              <a:ahLst/>
              <a:cxnLst>
                <a:cxn ang="0">
                  <a:pos x="T0" y="T1"/>
                </a:cxn>
                <a:cxn ang="0">
                  <a:pos x="T2" y="T3"/>
                </a:cxn>
                <a:cxn ang="0">
                  <a:pos x="T4" y="T5"/>
                </a:cxn>
                <a:cxn ang="0">
                  <a:pos x="T6" y="T7"/>
                </a:cxn>
                <a:cxn ang="0">
                  <a:pos x="T8" y="T9"/>
                </a:cxn>
                <a:cxn ang="0">
                  <a:pos x="T10" y="T11"/>
                </a:cxn>
                <a:cxn ang="0">
                  <a:pos x="T12" y="T13"/>
                </a:cxn>
              </a:cxnLst>
              <a:rect l="0" t="0" r="r" b="b"/>
              <a:pathLst>
                <a:path w="6" h="29">
                  <a:moveTo>
                    <a:pt x="6" y="26"/>
                  </a:moveTo>
                  <a:cubicBezTo>
                    <a:pt x="6" y="3"/>
                    <a:pt x="6" y="3"/>
                    <a:pt x="6" y="3"/>
                  </a:cubicBezTo>
                  <a:cubicBezTo>
                    <a:pt x="6" y="1"/>
                    <a:pt x="5" y="0"/>
                    <a:pt x="3" y="0"/>
                  </a:cubicBezTo>
                  <a:cubicBezTo>
                    <a:pt x="1" y="0"/>
                    <a:pt x="0" y="1"/>
                    <a:pt x="0" y="3"/>
                  </a:cubicBezTo>
                  <a:cubicBezTo>
                    <a:pt x="0" y="26"/>
                    <a:pt x="0" y="26"/>
                    <a:pt x="0" y="26"/>
                  </a:cubicBezTo>
                  <a:cubicBezTo>
                    <a:pt x="0" y="27"/>
                    <a:pt x="1" y="29"/>
                    <a:pt x="3" y="29"/>
                  </a:cubicBezTo>
                  <a:cubicBezTo>
                    <a:pt x="5" y="29"/>
                    <a:pt x="6" y="27"/>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8" name="Oval 57">
              <a:extLst>
                <a:ext uri="{FF2B5EF4-FFF2-40B4-BE49-F238E27FC236}">
                  <a16:creationId xmlns:a16="http://schemas.microsoft.com/office/drawing/2014/main" id="{A83BD4AA-DADF-1E53-FEAE-53836CE28907}"/>
                </a:ext>
              </a:extLst>
            </p:cNvPr>
            <p:cNvSpPr>
              <a:spLocks/>
            </p:cNvSpPr>
            <p:nvPr/>
          </p:nvSpPr>
          <p:spPr bwMode="auto">
            <a:xfrm>
              <a:off x="214" y="0"/>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9" name="Freeform 39">
              <a:extLst>
                <a:ext uri="{FF2B5EF4-FFF2-40B4-BE49-F238E27FC236}">
                  <a16:creationId xmlns:a16="http://schemas.microsoft.com/office/drawing/2014/main" id="{F011E09C-EAC7-D165-D3C6-1F4EF3963314}"/>
                </a:ext>
              </a:extLst>
            </p:cNvPr>
            <p:cNvSpPr>
              <a:spLocks/>
            </p:cNvSpPr>
            <p:nvPr/>
          </p:nvSpPr>
          <p:spPr bwMode="auto">
            <a:xfrm>
              <a:off x="222" y="41"/>
              <a:ext cx="12" cy="59"/>
            </a:xfrm>
            <a:custGeom>
              <a:avLst/>
              <a:gdLst>
                <a:gd name="T0" fmla="*/ 0 w 6"/>
                <a:gd name="T1" fmla="*/ 3 h 29"/>
                <a:gd name="T2" fmla="*/ 0 w 6"/>
                <a:gd name="T3" fmla="*/ 26 h 29"/>
                <a:gd name="T4" fmla="*/ 3 w 6"/>
                <a:gd name="T5" fmla="*/ 29 h 29"/>
                <a:gd name="T6" fmla="*/ 6 w 6"/>
                <a:gd name="T7" fmla="*/ 26 h 29"/>
                <a:gd name="T8" fmla="*/ 6 w 6"/>
                <a:gd name="T9" fmla="*/ 3 h 29"/>
                <a:gd name="T10" fmla="*/ 3 w 6"/>
                <a:gd name="T11" fmla="*/ 0 h 29"/>
                <a:gd name="T12" fmla="*/ 0 w 6"/>
                <a:gd name="T13" fmla="*/ 3 h 29"/>
              </a:gdLst>
              <a:ahLst/>
              <a:cxnLst>
                <a:cxn ang="0">
                  <a:pos x="T0" y="T1"/>
                </a:cxn>
                <a:cxn ang="0">
                  <a:pos x="T2" y="T3"/>
                </a:cxn>
                <a:cxn ang="0">
                  <a:pos x="T4" y="T5"/>
                </a:cxn>
                <a:cxn ang="0">
                  <a:pos x="T6" y="T7"/>
                </a:cxn>
                <a:cxn ang="0">
                  <a:pos x="T8" y="T9"/>
                </a:cxn>
                <a:cxn ang="0">
                  <a:pos x="T10" y="T11"/>
                </a:cxn>
                <a:cxn ang="0">
                  <a:pos x="T12" y="T13"/>
                </a:cxn>
              </a:cxnLst>
              <a:rect l="0" t="0" r="r" b="b"/>
              <a:pathLst>
                <a:path w="6" h="29">
                  <a:moveTo>
                    <a:pt x="0" y="3"/>
                  </a:moveTo>
                  <a:cubicBezTo>
                    <a:pt x="0" y="26"/>
                    <a:pt x="0" y="26"/>
                    <a:pt x="0" y="26"/>
                  </a:cubicBezTo>
                  <a:cubicBezTo>
                    <a:pt x="0" y="28"/>
                    <a:pt x="1" y="29"/>
                    <a:pt x="3" y="29"/>
                  </a:cubicBezTo>
                  <a:cubicBezTo>
                    <a:pt x="5" y="29"/>
                    <a:pt x="6" y="28"/>
                    <a:pt x="6" y="26"/>
                  </a:cubicBezTo>
                  <a:cubicBezTo>
                    <a:pt x="6" y="3"/>
                    <a:pt x="6" y="3"/>
                    <a:pt x="6" y="3"/>
                  </a:cubicBezTo>
                  <a:cubicBezTo>
                    <a:pt x="6" y="1"/>
                    <a:pt x="5"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0" name="Freeform 40">
              <a:extLst>
                <a:ext uri="{FF2B5EF4-FFF2-40B4-BE49-F238E27FC236}">
                  <a16:creationId xmlns:a16="http://schemas.microsoft.com/office/drawing/2014/main" id="{586A4CF5-3F58-710F-CE08-0E2BFDB52BA8}"/>
                </a:ext>
              </a:extLst>
            </p:cNvPr>
            <p:cNvSpPr>
              <a:spLocks/>
            </p:cNvSpPr>
            <p:nvPr/>
          </p:nvSpPr>
          <p:spPr bwMode="auto">
            <a:xfrm>
              <a:off x="43" y="53"/>
              <a:ext cx="368" cy="317"/>
            </a:xfrm>
            <a:custGeom>
              <a:avLst/>
              <a:gdLst>
                <a:gd name="T0" fmla="*/ 153 w 181"/>
                <a:gd name="T1" fmla="*/ 30 h 156"/>
                <a:gd name="T2" fmla="*/ 164 w 181"/>
                <a:gd name="T3" fmla="*/ 34 h 156"/>
                <a:gd name="T4" fmla="*/ 181 w 181"/>
                <a:gd name="T5" fmla="*/ 19 h 156"/>
                <a:gd name="T6" fmla="*/ 165 w 181"/>
                <a:gd name="T7" fmla="*/ 0 h 156"/>
                <a:gd name="T8" fmla="*/ 147 w 181"/>
                <a:gd name="T9" fmla="*/ 16 h 156"/>
                <a:gd name="T10" fmla="*/ 148 w 181"/>
                <a:gd name="T11" fmla="*/ 27 h 156"/>
                <a:gd name="T12" fmla="*/ 91 w 181"/>
                <a:gd name="T13" fmla="*/ 26 h 156"/>
                <a:gd name="T14" fmla="*/ 49 w 181"/>
                <a:gd name="T15" fmla="*/ 110 h 156"/>
                <a:gd name="T16" fmla="*/ 29 w 181"/>
                <a:gd name="T17" fmla="*/ 127 h 156"/>
                <a:gd name="T18" fmla="*/ 7 w 181"/>
                <a:gd name="T19" fmla="*/ 126 h 156"/>
                <a:gd name="T20" fmla="*/ 5 w 181"/>
                <a:gd name="T21" fmla="*/ 150 h 156"/>
                <a:gd name="T22" fmla="*/ 18 w 181"/>
                <a:gd name="T23" fmla="*/ 156 h 156"/>
                <a:gd name="T24" fmla="*/ 35 w 181"/>
                <a:gd name="T25" fmla="*/ 141 h 156"/>
                <a:gd name="T26" fmla="*/ 34 w 181"/>
                <a:gd name="T27" fmla="*/ 130 h 156"/>
                <a:gd name="T28" fmla="*/ 55 w 181"/>
                <a:gd name="T29" fmla="*/ 117 h 156"/>
                <a:gd name="T30" fmla="*/ 59 w 181"/>
                <a:gd name="T31" fmla="*/ 120 h 156"/>
                <a:gd name="T32" fmla="*/ 91 w 181"/>
                <a:gd name="T33" fmla="*/ 131 h 156"/>
                <a:gd name="T34" fmla="*/ 122 w 181"/>
                <a:gd name="T35" fmla="*/ 120 h 156"/>
                <a:gd name="T36" fmla="*/ 126 w 181"/>
                <a:gd name="T37" fmla="*/ 117 h 156"/>
                <a:gd name="T38" fmla="*/ 133 w 181"/>
                <a:gd name="T39" fmla="*/ 48 h 156"/>
                <a:gd name="T40" fmla="*/ 157 w 181"/>
                <a:gd name="T41" fmla="*/ 9 h 156"/>
                <a:gd name="T42" fmla="*/ 165 w 181"/>
                <a:gd name="T43" fmla="*/ 6 h 156"/>
                <a:gd name="T44" fmla="*/ 171 w 181"/>
                <a:gd name="T45" fmla="*/ 26 h 156"/>
                <a:gd name="T46" fmla="*/ 155 w 181"/>
                <a:gd name="T47" fmla="*/ 25 h 156"/>
                <a:gd name="T48" fmla="*/ 157 w 181"/>
                <a:gd name="T49" fmla="*/ 9 h 156"/>
                <a:gd name="T50" fmla="*/ 17 w 181"/>
                <a:gd name="T51" fmla="*/ 151 h 156"/>
                <a:gd name="T52" fmla="*/ 6 w 181"/>
                <a:gd name="T53" fmla="*/ 138 h 156"/>
                <a:gd name="T54" fmla="*/ 10 w 181"/>
                <a:gd name="T55" fmla="*/ 131 h 156"/>
                <a:gd name="T56" fmla="*/ 19 w 181"/>
                <a:gd name="T57" fmla="*/ 128 h 156"/>
                <a:gd name="T58" fmla="*/ 29 w 181"/>
                <a:gd name="T59" fmla="*/ 140 h 156"/>
                <a:gd name="T60" fmla="*/ 72 w 181"/>
                <a:gd name="T61" fmla="*/ 108 h 156"/>
                <a:gd name="T62" fmla="*/ 81 w 181"/>
                <a:gd name="T63" fmla="*/ 89 h 156"/>
                <a:gd name="T64" fmla="*/ 76 w 181"/>
                <a:gd name="T65" fmla="*/ 80 h 156"/>
                <a:gd name="T66" fmla="*/ 71 w 181"/>
                <a:gd name="T67" fmla="*/ 73 h 156"/>
                <a:gd name="T68" fmla="*/ 73 w 181"/>
                <a:gd name="T69" fmla="*/ 68 h 156"/>
                <a:gd name="T70" fmla="*/ 75 w 181"/>
                <a:gd name="T71" fmla="*/ 51 h 156"/>
                <a:gd name="T72" fmla="*/ 106 w 181"/>
                <a:gd name="T73" fmla="*/ 51 h 156"/>
                <a:gd name="T74" fmla="*/ 108 w 181"/>
                <a:gd name="T75" fmla="*/ 68 h 156"/>
                <a:gd name="T76" fmla="*/ 110 w 181"/>
                <a:gd name="T77" fmla="*/ 73 h 156"/>
                <a:gd name="T78" fmla="*/ 105 w 181"/>
                <a:gd name="T79" fmla="*/ 80 h 156"/>
                <a:gd name="T80" fmla="*/ 100 w 181"/>
                <a:gd name="T81" fmla="*/ 89 h 156"/>
                <a:gd name="T82" fmla="*/ 108 w 181"/>
                <a:gd name="T83" fmla="*/ 108 h 156"/>
                <a:gd name="T84" fmla="*/ 113 w 181"/>
                <a:gd name="T85" fmla="*/ 118 h 156"/>
                <a:gd name="T86" fmla="*/ 75 w 181"/>
                <a:gd name="T87" fmla="*/ 121 h 156"/>
                <a:gd name="T88" fmla="*/ 63 w 181"/>
                <a:gd name="T89" fmla="*/ 114 h 156"/>
                <a:gd name="T90" fmla="*/ 110 w 181"/>
                <a:gd name="T91" fmla="*/ 102 h 156"/>
                <a:gd name="T92" fmla="*/ 106 w 181"/>
                <a:gd name="T93" fmla="*/ 91 h 156"/>
                <a:gd name="T94" fmla="*/ 116 w 181"/>
                <a:gd name="T95" fmla="*/ 74 h 156"/>
                <a:gd name="T96" fmla="*/ 114 w 181"/>
                <a:gd name="T97" fmla="*/ 64 h 156"/>
                <a:gd name="T98" fmla="*/ 90 w 181"/>
                <a:gd name="T99" fmla="*/ 37 h 156"/>
                <a:gd name="T100" fmla="*/ 67 w 181"/>
                <a:gd name="T101" fmla="*/ 64 h 156"/>
                <a:gd name="T102" fmla="*/ 65 w 181"/>
                <a:gd name="T103" fmla="*/ 74 h 156"/>
                <a:gd name="T104" fmla="*/ 75 w 181"/>
                <a:gd name="T105" fmla="*/ 91 h 156"/>
                <a:gd name="T106" fmla="*/ 70 w 181"/>
                <a:gd name="T107" fmla="*/ 102 h 156"/>
                <a:gd name="T108" fmla="*/ 45 w 181"/>
                <a:gd name="T109" fmla="*/ 78 h 156"/>
                <a:gd name="T110" fmla="*/ 136 w 181"/>
                <a:gd name="T111" fmla="*/ 78 h 156"/>
                <a:gd name="T112" fmla="*/ 110 w 181"/>
                <a:gd name="T113" fmla="*/ 10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1" h="156">
                  <a:moveTo>
                    <a:pt x="152" y="32"/>
                  </a:moveTo>
                  <a:cubicBezTo>
                    <a:pt x="152" y="31"/>
                    <a:pt x="153" y="31"/>
                    <a:pt x="153" y="30"/>
                  </a:cubicBezTo>
                  <a:cubicBezTo>
                    <a:pt x="155" y="32"/>
                    <a:pt x="159" y="34"/>
                    <a:pt x="162" y="34"/>
                  </a:cubicBezTo>
                  <a:cubicBezTo>
                    <a:pt x="163" y="34"/>
                    <a:pt x="163" y="34"/>
                    <a:pt x="164" y="34"/>
                  </a:cubicBezTo>
                  <a:cubicBezTo>
                    <a:pt x="168" y="34"/>
                    <a:pt x="172" y="33"/>
                    <a:pt x="175" y="30"/>
                  </a:cubicBezTo>
                  <a:cubicBezTo>
                    <a:pt x="178" y="27"/>
                    <a:pt x="180" y="23"/>
                    <a:pt x="181" y="19"/>
                  </a:cubicBezTo>
                  <a:cubicBezTo>
                    <a:pt x="181" y="14"/>
                    <a:pt x="180" y="10"/>
                    <a:pt x="177" y="6"/>
                  </a:cubicBezTo>
                  <a:cubicBezTo>
                    <a:pt x="174" y="3"/>
                    <a:pt x="170" y="1"/>
                    <a:pt x="165" y="0"/>
                  </a:cubicBezTo>
                  <a:cubicBezTo>
                    <a:pt x="161" y="0"/>
                    <a:pt x="156" y="1"/>
                    <a:pt x="153" y="4"/>
                  </a:cubicBezTo>
                  <a:cubicBezTo>
                    <a:pt x="150" y="7"/>
                    <a:pt x="147" y="11"/>
                    <a:pt x="147" y="16"/>
                  </a:cubicBezTo>
                  <a:cubicBezTo>
                    <a:pt x="147" y="20"/>
                    <a:pt x="148" y="23"/>
                    <a:pt x="150" y="27"/>
                  </a:cubicBezTo>
                  <a:cubicBezTo>
                    <a:pt x="149" y="27"/>
                    <a:pt x="148" y="27"/>
                    <a:pt x="148" y="27"/>
                  </a:cubicBezTo>
                  <a:cubicBezTo>
                    <a:pt x="129" y="43"/>
                    <a:pt x="129" y="43"/>
                    <a:pt x="129" y="43"/>
                  </a:cubicBezTo>
                  <a:cubicBezTo>
                    <a:pt x="120" y="33"/>
                    <a:pt x="106" y="26"/>
                    <a:pt x="91" y="26"/>
                  </a:cubicBezTo>
                  <a:cubicBezTo>
                    <a:pt x="62" y="26"/>
                    <a:pt x="38" y="49"/>
                    <a:pt x="38" y="78"/>
                  </a:cubicBezTo>
                  <a:cubicBezTo>
                    <a:pt x="38" y="90"/>
                    <a:pt x="42" y="101"/>
                    <a:pt x="49" y="110"/>
                  </a:cubicBezTo>
                  <a:cubicBezTo>
                    <a:pt x="30" y="125"/>
                    <a:pt x="30" y="125"/>
                    <a:pt x="30" y="125"/>
                  </a:cubicBezTo>
                  <a:cubicBezTo>
                    <a:pt x="29" y="125"/>
                    <a:pt x="29" y="126"/>
                    <a:pt x="29" y="127"/>
                  </a:cubicBezTo>
                  <a:cubicBezTo>
                    <a:pt x="26" y="124"/>
                    <a:pt x="23" y="123"/>
                    <a:pt x="19" y="122"/>
                  </a:cubicBezTo>
                  <a:cubicBezTo>
                    <a:pt x="15" y="122"/>
                    <a:pt x="10" y="123"/>
                    <a:pt x="7" y="126"/>
                  </a:cubicBezTo>
                  <a:cubicBezTo>
                    <a:pt x="3" y="129"/>
                    <a:pt x="1" y="133"/>
                    <a:pt x="1" y="138"/>
                  </a:cubicBezTo>
                  <a:cubicBezTo>
                    <a:pt x="0" y="142"/>
                    <a:pt x="2" y="147"/>
                    <a:pt x="5" y="150"/>
                  </a:cubicBezTo>
                  <a:cubicBezTo>
                    <a:pt x="8" y="154"/>
                    <a:pt x="12" y="156"/>
                    <a:pt x="16" y="156"/>
                  </a:cubicBezTo>
                  <a:cubicBezTo>
                    <a:pt x="17" y="156"/>
                    <a:pt x="17" y="156"/>
                    <a:pt x="18" y="156"/>
                  </a:cubicBezTo>
                  <a:cubicBezTo>
                    <a:pt x="22" y="156"/>
                    <a:pt x="25" y="155"/>
                    <a:pt x="29" y="152"/>
                  </a:cubicBezTo>
                  <a:cubicBezTo>
                    <a:pt x="32" y="149"/>
                    <a:pt x="34" y="145"/>
                    <a:pt x="35" y="141"/>
                  </a:cubicBezTo>
                  <a:cubicBezTo>
                    <a:pt x="35" y="137"/>
                    <a:pt x="34" y="133"/>
                    <a:pt x="32" y="130"/>
                  </a:cubicBezTo>
                  <a:cubicBezTo>
                    <a:pt x="33" y="130"/>
                    <a:pt x="33" y="130"/>
                    <a:pt x="34" y="130"/>
                  </a:cubicBezTo>
                  <a:cubicBezTo>
                    <a:pt x="53" y="114"/>
                    <a:pt x="53" y="114"/>
                    <a:pt x="53" y="114"/>
                  </a:cubicBezTo>
                  <a:cubicBezTo>
                    <a:pt x="54" y="115"/>
                    <a:pt x="54" y="116"/>
                    <a:pt x="55" y="117"/>
                  </a:cubicBezTo>
                  <a:cubicBezTo>
                    <a:pt x="56" y="118"/>
                    <a:pt x="58" y="119"/>
                    <a:pt x="59" y="120"/>
                  </a:cubicBezTo>
                  <a:cubicBezTo>
                    <a:pt x="59" y="120"/>
                    <a:pt x="59" y="120"/>
                    <a:pt x="59" y="120"/>
                  </a:cubicBezTo>
                  <a:cubicBezTo>
                    <a:pt x="61" y="122"/>
                    <a:pt x="63" y="123"/>
                    <a:pt x="65" y="124"/>
                  </a:cubicBezTo>
                  <a:cubicBezTo>
                    <a:pt x="73" y="128"/>
                    <a:pt x="82" y="131"/>
                    <a:pt x="91" y="131"/>
                  </a:cubicBezTo>
                  <a:cubicBezTo>
                    <a:pt x="100" y="131"/>
                    <a:pt x="109" y="128"/>
                    <a:pt x="117" y="124"/>
                  </a:cubicBezTo>
                  <a:cubicBezTo>
                    <a:pt x="119" y="123"/>
                    <a:pt x="120" y="122"/>
                    <a:pt x="122" y="120"/>
                  </a:cubicBezTo>
                  <a:cubicBezTo>
                    <a:pt x="123" y="120"/>
                    <a:pt x="123" y="120"/>
                    <a:pt x="123" y="120"/>
                  </a:cubicBezTo>
                  <a:cubicBezTo>
                    <a:pt x="124" y="119"/>
                    <a:pt x="125" y="118"/>
                    <a:pt x="126" y="117"/>
                  </a:cubicBezTo>
                  <a:cubicBezTo>
                    <a:pt x="137" y="107"/>
                    <a:pt x="143" y="93"/>
                    <a:pt x="143" y="78"/>
                  </a:cubicBezTo>
                  <a:cubicBezTo>
                    <a:pt x="143" y="67"/>
                    <a:pt x="139" y="56"/>
                    <a:pt x="133" y="48"/>
                  </a:cubicBezTo>
                  <a:lnTo>
                    <a:pt x="152" y="32"/>
                  </a:lnTo>
                  <a:close/>
                  <a:moveTo>
                    <a:pt x="157" y="9"/>
                  </a:moveTo>
                  <a:cubicBezTo>
                    <a:pt x="159" y="7"/>
                    <a:pt x="161" y="6"/>
                    <a:pt x="164" y="6"/>
                  </a:cubicBezTo>
                  <a:cubicBezTo>
                    <a:pt x="164" y="6"/>
                    <a:pt x="165" y="6"/>
                    <a:pt x="165" y="6"/>
                  </a:cubicBezTo>
                  <a:cubicBezTo>
                    <a:pt x="168" y="6"/>
                    <a:pt x="171" y="8"/>
                    <a:pt x="173" y="10"/>
                  </a:cubicBezTo>
                  <a:cubicBezTo>
                    <a:pt x="177" y="15"/>
                    <a:pt x="176" y="22"/>
                    <a:pt x="171" y="26"/>
                  </a:cubicBezTo>
                  <a:cubicBezTo>
                    <a:pt x="169" y="28"/>
                    <a:pt x="166" y="29"/>
                    <a:pt x="163" y="29"/>
                  </a:cubicBezTo>
                  <a:cubicBezTo>
                    <a:pt x="160" y="28"/>
                    <a:pt x="157" y="27"/>
                    <a:pt x="155" y="25"/>
                  </a:cubicBezTo>
                  <a:cubicBezTo>
                    <a:pt x="153" y="22"/>
                    <a:pt x="152" y="19"/>
                    <a:pt x="153" y="16"/>
                  </a:cubicBezTo>
                  <a:cubicBezTo>
                    <a:pt x="153" y="13"/>
                    <a:pt x="154" y="11"/>
                    <a:pt x="157" y="9"/>
                  </a:cubicBezTo>
                  <a:close/>
                  <a:moveTo>
                    <a:pt x="25" y="148"/>
                  </a:moveTo>
                  <a:cubicBezTo>
                    <a:pt x="23" y="150"/>
                    <a:pt x="20" y="151"/>
                    <a:pt x="17" y="151"/>
                  </a:cubicBezTo>
                  <a:cubicBezTo>
                    <a:pt x="14" y="150"/>
                    <a:pt x="11" y="149"/>
                    <a:pt x="9" y="147"/>
                  </a:cubicBezTo>
                  <a:cubicBezTo>
                    <a:pt x="7" y="144"/>
                    <a:pt x="6" y="141"/>
                    <a:pt x="6" y="138"/>
                  </a:cubicBezTo>
                  <a:cubicBezTo>
                    <a:pt x="7" y="135"/>
                    <a:pt x="8" y="133"/>
                    <a:pt x="10" y="131"/>
                  </a:cubicBezTo>
                  <a:cubicBezTo>
                    <a:pt x="10" y="131"/>
                    <a:pt x="10" y="131"/>
                    <a:pt x="10" y="131"/>
                  </a:cubicBezTo>
                  <a:cubicBezTo>
                    <a:pt x="12" y="129"/>
                    <a:pt x="15" y="128"/>
                    <a:pt x="18" y="128"/>
                  </a:cubicBezTo>
                  <a:cubicBezTo>
                    <a:pt x="18" y="128"/>
                    <a:pt x="18" y="128"/>
                    <a:pt x="19" y="128"/>
                  </a:cubicBezTo>
                  <a:cubicBezTo>
                    <a:pt x="22" y="128"/>
                    <a:pt x="24" y="130"/>
                    <a:pt x="26" y="132"/>
                  </a:cubicBezTo>
                  <a:cubicBezTo>
                    <a:pt x="28" y="134"/>
                    <a:pt x="29" y="137"/>
                    <a:pt x="29" y="140"/>
                  </a:cubicBezTo>
                  <a:cubicBezTo>
                    <a:pt x="29" y="143"/>
                    <a:pt x="27" y="146"/>
                    <a:pt x="25" y="148"/>
                  </a:cubicBezTo>
                  <a:close/>
                  <a:moveTo>
                    <a:pt x="72" y="108"/>
                  </a:moveTo>
                  <a:cubicBezTo>
                    <a:pt x="76" y="107"/>
                    <a:pt x="79" y="105"/>
                    <a:pt x="80" y="102"/>
                  </a:cubicBezTo>
                  <a:cubicBezTo>
                    <a:pt x="82" y="98"/>
                    <a:pt x="81" y="91"/>
                    <a:pt x="81" y="89"/>
                  </a:cubicBezTo>
                  <a:cubicBezTo>
                    <a:pt x="80" y="89"/>
                    <a:pt x="80" y="89"/>
                    <a:pt x="80" y="88"/>
                  </a:cubicBezTo>
                  <a:cubicBezTo>
                    <a:pt x="79" y="86"/>
                    <a:pt x="77" y="83"/>
                    <a:pt x="76" y="80"/>
                  </a:cubicBezTo>
                  <a:cubicBezTo>
                    <a:pt x="76" y="78"/>
                    <a:pt x="75" y="78"/>
                    <a:pt x="74" y="78"/>
                  </a:cubicBezTo>
                  <a:cubicBezTo>
                    <a:pt x="73" y="77"/>
                    <a:pt x="71" y="76"/>
                    <a:pt x="71" y="73"/>
                  </a:cubicBezTo>
                  <a:cubicBezTo>
                    <a:pt x="71" y="71"/>
                    <a:pt x="71" y="70"/>
                    <a:pt x="71" y="69"/>
                  </a:cubicBezTo>
                  <a:cubicBezTo>
                    <a:pt x="72" y="69"/>
                    <a:pt x="72" y="68"/>
                    <a:pt x="73" y="68"/>
                  </a:cubicBezTo>
                  <a:cubicBezTo>
                    <a:pt x="73" y="67"/>
                    <a:pt x="74" y="66"/>
                    <a:pt x="73" y="65"/>
                  </a:cubicBezTo>
                  <a:cubicBezTo>
                    <a:pt x="72" y="60"/>
                    <a:pt x="72" y="55"/>
                    <a:pt x="75" y="51"/>
                  </a:cubicBezTo>
                  <a:cubicBezTo>
                    <a:pt x="79" y="46"/>
                    <a:pt x="84" y="44"/>
                    <a:pt x="90" y="44"/>
                  </a:cubicBezTo>
                  <a:cubicBezTo>
                    <a:pt x="97" y="44"/>
                    <a:pt x="102" y="46"/>
                    <a:pt x="106" y="51"/>
                  </a:cubicBezTo>
                  <a:cubicBezTo>
                    <a:pt x="109" y="55"/>
                    <a:pt x="109" y="60"/>
                    <a:pt x="108" y="65"/>
                  </a:cubicBezTo>
                  <a:cubicBezTo>
                    <a:pt x="107" y="66"/>
                    <a:pt x="108" y="67"/>
                    <a:pt x="108" y="68"/>
                  </a:cubicBezTo>
                  <a:cubicBezTo>
                    <a:pt x="109" y="68"/>
                    <a:pt x="109" y="69"/>
                    <a:pt x="110" y="69"/>
                  </a:cubicBezTo>
                  <a:cubicBezTo>
                    <a:pt x="110" y="70"/>
                    <a:pt x="110" y="71"/>
                    <a:pt x="110" y="73"/>
                  </a:cubicBezTo>
                  <a:cubicBezTo>
                    <a:pt x="109" y="76"/>
                    <a:pt x="108" y="77"/>
                    <a:pt x="107" y="78"/>
                  </a:cubicBezTo>
                  <a:cubicBezTo>
                    <a:pt x="106" y="78"/>
                    <a:pt x="105" y="78"/>
                    <a:pt x="105" y="80"/>
                  </a:cubicBezTo>
                  <a:cubicBezTo>
                    <a:pt x="103" y="83"/>
                    <a:pt x="102" y="86"/>
                    <a:pt x="101" y="88"/>
                  </a:cubicBezTo>
                  <a:cubicBezTo>
                    <a:pt x="101" y="89"/>
                    <a:pt x="100" y="89"/>
                    <a:pt x="100" y="89"/>
                  </a:cubicBezTo>
                  <a:cubicBezTo>
                    <a:pt x="100" y="91"/>
                    <a:pt x="99" y="98"/>
                    <a:pt x="101" y="102"/>
                  </a:cubicBezTo>
                  <a:cubicBezTo>
                    <a:pt x="102" y="105"/>
                    <a:pt x="104" y="106"/>
                    <a:pt x="108" y="108"/>
                  </a:cubicBezTo>
                  <a:cubicBezTo>
                    <a:pt x="113" y="109"/>
                    <a:pt x="117" y="112"/>
                    <a:pt x="119" y="114"/>
                  </a:cubicBezTo>
                  <a:cubicBezTo>
                    <a:pt x="117" y="116"/>
                    <a:pt x="115" y="117"/>
                    <a:pt x="113" y="118"/>
                  </a:cubicBezTo>
                  <a:cubicBezTo>
                    <a:pt x="111" y="119"/>
                    <a:pt x="109" y="120"/>
                    <a:pt x="106" y="121"/>
                  </a:cubicBezTo>
                  <a:cubicBezTo>
                    <a:pt x="96" y="125"/>
                    <a:pt x="85" y="125"/>
                    <a:pt x="75" y="121"/>
                  </a:cubicBezTo>
                  <a:cubicBezTo>
                    <a:pt x="73" y="120"/>
                    <a:pt x="70" y="119"/>
                    <a:pt x="68" y="118"/>
                  </a:cubicBezTo>
                  <a:cubicBezTo>
                    <a:pt x="66" y="117"/>
                    <a:pt x="64" y="116"/>
                    <a:pt x="63" y="114"/>
                  </a:cubicBezTo>
                  <a:cubicBezTo>
                    <a:pt x="65" y="112"/>
                    <a:pt x="68" y="110"/>
                    <a:pt x="72" y="108"/>
                  </a:cubicBezTo>
                  <a:close/>
                  <a:moveTo>
                    <a:pt x="110" y="102"/>
                  </a:moveTo>
                  <a:cubicBezTo>
                    <a:pt x="107" y="101"/>
                    <a:pt x="106" y="100"/>
                    <a:pt x="106" y="100"/>
                  </a:cubicBezTo>
                  <a:cubicBezTo>
                    <a:pt x="106" y="98"/>
                    <a:pt x="106" y="94"/>
                    <a:pt x="106" y="91"/>
                  </a:cubicBezTo>
                  <a:cubicBezTo>
                    <a:pt x="108" y="89"/>
                    <a:pt x="109" y="86"/>
                    <a:pt x="110" y="83"/>
                  </a:cubicBezTo>
                  <a:cubicBezTo>
                    <a:pt x="113" y="82"/>
                    <a:pt x="115" y="77"/>
                    <a:pt x="116" y="74"/>
                  </a:cubicBezTo>
                  <a:cubicBezTo>
                    <a:pt x="117" y="69"/>
                    <a:pt x="116" y="67"/>
                    <a:pt x="115" y="65"/>
                  </a:cubicBezTo>
                  <a:cubicBezTo>
                    <a:pt x="115" y="65"/>
                    <a:pt x="115" y="64"/>
                    <a:pt x="114" y="64"/>
                  </a:cubicBezTo>
                  <a:cubicBezTo>
                    <a:pt x="115" y="58"/>
                    <a:pt x="114" y="52"/>
                    <a:pt x="111" y="47"/>
                  </a:cubicBezTo>
                  <a:cubicBezTo>
                    <a:pt x="106" y="41"/>
                    <a:pt x="99" y="37"/>
                    <a:pt x="90" y="37"/>
                  </a:cubicBezTo>
                  <a:cubicBezTo>
                    <a:pt x="82" y="37"/>
                    <a:pt x="75" y="41"/>
                    <a:pt x="70" y="47"/>
                  </a:cubicBezTo>
                  <a:cubicBezTo>
                    <a:pt x="67" y="52"/>
                    <a:pt x="65" y="58"/>
                    <a:pt x="67" y="64"/>
                  </a:cubicBezTo>
                  <a:cubicBezTo>
                    <a:pt x="66" y="64"/>
                    <a:pt x="66" y="65"/>
                    <a:pt x="66" y="65"/>
                  </a:cubicBezTo>
                  <a:cubicBezTo>
                    <a:pt x="65" y="67"/>
                    <a:pt x="64" y="69"/>
                    <a:pt x="65" y="74"/>
                  </a:cubicBezTo>
                  <a:cubicBezTo>
                    <a:pt x="65" y="77"/>
                    <a:pt x="68" y="82"/>
                    <a:pt x="71" y="83"/>
                  </a:cubicBezTo>
                  <a:cubicBezTo>
                    <a:pt x="72" y="86"/>
                    <a:pt x="73" y="89"/>
                    <a:pt x="75" y="91"/>
                  </a:cubicBezTo>
                  <a:cubicBezTo>
                    <a:pt x="75" y="94"/>
                    <a:pt x="75" y="98"/>
                    <a:pt x="75" y="100"/>
                  </a:cubicBezTo>
                  <a:cubicBezTo>
                    <a:pt x="74" y="101"/>
                    <a:pt x="71" y="102"/>
                    <a:pt x="70" y="102"/>
                  </a:cubicBezTo>
                  <a:cubicBezTo>
                    <a:pt x="64" y="104"/>
                    <a:pt x="61" y="107"/>
                    <a:pt x="58" y="110"/>
                  </a:cubicBezTo>
                  <a:cubicBezTo>
                    <a:pt x="50" y="102"/>
                    <a:pt x="45" y="90"/>
                    <a:pt x="45" y="78"/>
                  </a:cubicBezTo>
                  <a:cubicBezTo>
                    <a:pt x="45" y="53"/>
                    <a:pt x="66" y="33"/>
                    <a:pt x="91" y="33"/>
                  </a:cubicBezTo>
                  <a:cubicBezTo>
                    <a:pt x="116" y="33"/>
                    <a:pt x="136" y="53"/>
                    <a:pt x="136" y="78"/>
                  </a:cubicBezTo>
                  <a:cubicBezTo>
                    <a:pt x="136" y="90"/>
                    <a:pt x="132" y="102"/>
                    <a:pt x="124" y="110"/>
                  </a:cubicBezTo>
                  <a:cubicBezTo>
                    <a:pt x="120" y="106"/>
                    <a:pt x="114" y="103"/>
                    <a:pt x="110"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3" name="TextBox 2">
            <a:extLst>
              <a:ext uri="{FF2B5EF4-FFF2-40B4-BE49-F238E27FC236}">
                <a16:creationId xmlns:a16="http://schemas.microsoft.com/office/drawing/2014/main" id="{08F3DAC8-8AC5-F6FC-3665-0D0EF32D27EF}"/>
              </a:ext>
            </a:extLst>
          </p:cNvPr>
          <p:cNvSpPr txBox="1"/>
          <p:nvPr/>
        </p:nvSpPr>
        <p:spPr>
          <a:xfrm>
            <a:off x="6760723" y="6770451"/>
            <a:ext cx="3499090" cy="600164"/>
          </a:xfrm>
          <a:prstGeom prst="rect">
            <a:avLst/>
          </a:prstGeom>
          <a:noFill/>
          <a:ln>
            <a:solidFill>
              <a:srgbClr val="FF0000"/>
            </a:solidFill>
          </a:ln>
        </p:spPr>
        <p:txBody>
          <a:bodyPr wrap="square" lIns="91440" tIns="45720" rIns="91440" bIns="45720" rtlCol="0" anchor="t">
            <a:spAutoFit/>
          </a:bodyPr>
          <a:lstStyle/>
          <a:p>
            <a:r>
              <a:rPr lang="en-AU" sz="1100" b="1" dirty="0">
                <a:solidFill>
                  <a:srgbClr val="FF0000"/>
                </a:solidFill>
              </a:rPr>
              <a:t>Implementation notes: </a:t>
            </a:r>
            <a:r>
              <a:rPr lang="en-AU" sz="1100" dirty="0">
                <a:solidFill>
                  <a:srgbClr val="FF0000"/>
                </a:solidFill>
              </a:rPr>
              <a:t>Principles are a guide and should be reviewed and updated to suit your Council’s principals.</a:t>
            </a:r>
          </a:p>
        </p:txBody>
      </p:sp>
    </p:spTree>
    <p:extLst>
      <p:ext uri="{BB962C8B-B14F-4D97-AF65-F5344CB8AC3E}">
        <p14:creationId xmlns:p14="http://schemas.microsoft.com/office/powerpoint/2010/main" val="41459118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C756286-4F85-B366-DF13-4D7C17C73EB7}"/>
              </a:ext>
              <a:ext uri="{C183D7F6-B498-43B3-948B-1728B52AA6E4}">
                <adec:decorative xmlns:adec="http://schemas.microsoft.com/office/drawing/2017/decorative" val="1"/>
              </a:ext>
            </a:extLst>
          </p:cNvPr>
          <p:cNvSpPr>
            <a:spLocks noGrp="1"/>
          </p:cNvSpPr>
          <p:nvPr>
            <p:ph type="sldNum" sz="quarter" idx="4"/>
          </p:nvPr>
        </p:nvSpPr>
        <p:spPr/>
        <p:txBody>
          <a:bodyPr/>
          <a:lstStyle/>
          <a:p>
            <a:pPr algn="l"/>
            <a:fld id="{48F63A3B-78C7-47BE-AE5E-E10140E04643}" type="slidenum">
              <a:rPr lang="en-US" smtClean="0"/>
              <a:pPr algn="l"/>
              <a:t>3</a:t>
            </a:fld>
            <a:endParaRPr lang="en-US"/>
          </a:p>
        </p:txBody>
      </p:sp>
      <p:sp>
        <p:nvSpPr>
          <p:cNvPr id="12" name="Content Placeholder 11">
            <a:extLst>
              <a:ext uri="{FF2B5EF4-FFF2-40B4-BE49-F238E27FC236}">
                <a16:creationId xmlns:a16="http://schemas.microsoft.com/office/drawing/2014/main" id="{28B2B0E2-D589-3D6E-8E8E-72C6A1EB897B}"/>
              </a:ext>
            </a:extLst>
          </p:cNvPr>
          <p:cNvSpPr>
            <a:spLocks noGrp="1"/>
          </p:cNvSpPr>
          <p:nvPr>
            <p:ph sz="quarter" idx="33"/>
          </p:nvPr>
        </p:nvSpPr>
        <p:spPr/>
        <p:txBody>
          <a:bodyPr/>
          <a:lstStyle/>
          <a:p>
            <a:r>
              <a:rPr lang="en-AU" sz="1100" b="0" dirty="0"/>
              <a:t>To the right is a simplified overview of the internal referrals process.</a:t>
            </a:r>
            <a:br>
              <a:rPr lang="en-AU" sz="1100" b="0" dirty="0"/>
            </a:br>
            <a:r>
              <a:rPr lang="en-AU" sz="1100" b="0" dirty="0"/>
              <a:t>The timelines are indicative and are meant to be used as a guide. The planning team and the Council departments work toward these ideal timeframes, keeping in mind that they may need to shift depending on the complexity of a given application. Any delays are communicated between teams to manage expectations. The Council departments prioritize referrals based on their due dates to help mitigate risk of delay.</a:t>
            </a:r>
          </a:p>
        </p:txBody>
      </p:sp>
      <p:sp>
        <p:nvSpPr>
          <p:cNvPr id="9" name="Text Placeholder 8">
            <a:extLst>
              <a:ext uri="{FF2B5EF4-FFF2-40B4-BE49-F238E27FC236}">
                <a16:creationId xmlns:a16="http://schemas.microsoft.com/office/drawing/2014/main" id="{DDE7D5E0-C7D5-2B0E-FE19-B9EBF50B86AB}"/>
              </a:ext>
            </a:extLst>
          </p:cNvPr>
          <p:cNvSpPr>
            <a:spLocks noGrp="1"/>
          </p:cNvSpPr>
          <p:nvPr>
            <p:ph type="title" idx="4294967295"/>
          </p:nvPr>
        </p:nvSpPr>
        <p:spPr>
          <a:xfrm>
            <a:off x="2555875" y="576263"/>
            <a:ext cx="7702550" cy="346075"/>
          </a:xfrm>
          <a:prstGeom prst="rect">
            <a:avLst/>
          </a:prstGeom>
          <a:noFill/>
          <a:ln>
            <a:noFill/>
            <a:prstDash/>
          </a:ln>
          <a:effectLst/>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1007943" rtl="0" eaLnBrk="1" fontAlgn="auto" latinLnBrk="0" hangingPunct="1">
              <a:lnSpc>
                <a:spcPct val="100000"/>
              </a:lnSpc>
              <a:spcBef>
                <a:spcPts val="661"/>
              </a:spcBef>
              <a:spcAft>
                <a:spcPts val="0"/>
              </a:spcAft>
              <a:buClrTx/>
              <a:buSzTx/>
              <a:buFont typeface="Arial" panose="020B0604020202020204" pitchFamily="34" charset="0"/>
              <a:buNone/>
              <a:tabLst/>
              <a:defRPr/>
            </a:pPr>
            <a:r>
              <a:rPr kumimoji="0" lang="en-AU" sz="1800" b="0" i="0" u="none" strike="noStrike" kern="1200" cap="none" spc="0" normalizeH="0" baseline="0" noProof="0" dirty="0">
                <a:ln>
                  <a:noFill/>
                </a:ln>
                <a:solidFill>
                  <a:schemeClr val="accent6"/>
                </a:solidFill>
                <a:effectLst/>
                <a:uLnTx/>
                <a:uFillTx/>
                <a:latin typeface="Segoe UI Semibold" panose="020B0702040204020203" pitchFamily="34" charset="0"/>
                <a:ea typeface="Segoe UI Semibold" panose="020B0702040204020203" pitchFamily="34" charset="0"/>
                <a:cs typeface="Segoe UI Semibold" panose="020B0702040204020203" pitchFamily="34" charset="0"/>
              </a:rPr>
              <a:t>The internal referrals process</a:t>
            </a:r>
          </a:p>
        </p:txBody>
      </p:sp>
      <p:sp>
        <p:nvSpPr>
          <p:cNvPr id="7" name="TextBox 6">
            <a:extLst>
              <a:ext uri="{FF2B5EF4-FFF2-40B4-BE49-F238E27FC236}">
                <a16:creationId xmlns:a16="http://schemas.microsoft.com/office/drawing/2014/main" id="{9A7CF8C7-AE94-F427-8B2F-EE016AC5211D}"/>
              </a:ext>
            </a:extLst>
          </p:cNvPr>
          <p:cNvSpPr txBox="1">
            <a:spLocks/>
          </p:cNvSpPr>
          <p:nvPr/>
        </p:nvSpPr>
        <p:spPr>
          <a:xfrm>
            <a:off x="2555875" y="1268820"/>
            <a:ext cx="3059112" cy="738664"/>
          </a:xfrm>
          <a:prstGeom prst="rect">
            <a:avLst/>
          </a:prstGeom>
          <a:solidFill>
            <a:schemeClr val="accent6"/>
          </a:solidFill>
        </p:spPr>
        <p:txBody>
          <a:bodyPr wrap="square">
            <a:spAutoFit/>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prstClr val="white"/>
                </a:solidFill>
                <a:effectLst/>
                <a:uLnTx/>
                <a:uFillTx/>
                <a:latin typeface="Arial" panose="020B0604020202020204"/>
                <a:ea typeface="+mn-ea"/>
                <a:cs typeface="+mn-cs"/>
              </a:rPr>
              <a:t>Planning officer assesses application. If an internal referral is needed, they ensure the application is complete before submitting a referral to relevant department/s</a:t>
            </a:r>
          </a:p>
        </p:txBody>
      </p:sp>
      <p:sp>
        <p:nvSpPr>
          <p:cNvPr id="19" name="TextBox 18">
            <a:extLst>
              <a:ext uri="{FF2B5EF4-FFF2-40B4-BE49-F238E27FC236}">
                <a16:creationId xmlns:a16="http://schemas.microsoft.com/office/drawing/2014/main" id="{8C442491-50AE-EAAE-85E2-59C1A0EAEE03}"/>
              </a:ext>
            </a:extLst>
          </p:cNvPr>
          <p:cNvSpPr txBox="1">
            <a:spLocks/>
          </p:cNvSpPr>
          <p:nvPr/>
        </p:nvSpPr>
        <p:spPr>
          <a:xfrm>
            <a:off x="2551617" y="2506695"/>
            <a:ext cx="738000" cy="1748060"/>
          </a:xfrm>
          <a:prstGeom prst="rect">
            <a:avLst/>
          </a:prstGeom>
          <a:solidFill>
            <a:schemeClr val="bg1">
              <a:lumMod val="95000"/>
            </a:schemeClr>
          </a:solidFill>
        </p:spPr>
        <p:txBody>
          <a:bodyPr wrap="square" lIns="0" rIns="36000">
            <a:noAutofit/>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Planner conducts</a:t>
            </a:r>
            <a:b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an initial review of the application.</a:t>
            </a:r>
          </a:p>
        </p:txBody>
      </p:sp>
      <p:sp>
        <p:nvSpPr>
          <p:cNvPr id="20" name="TextBox 19">
            <a:extLst>
              <a:ext uri="{FF2B5EF4-FFF2-40B4-BE49-F238E27FC236}">
                <a16:creationId xmlns:a16="http://schemas.microsoft.com/office/drawing/2014/main" id="{34001E73-3562-E876-B09A-095BFBF2F4C2}"/>
              </a:ext>
            </a:extLst>
          </p:cNvPr>
          <p:cNvSpPr txBox="1">
            <a:spLocks/>
          </p:cNvSpPr>
          <p:nvPr/>
        </p:nvSpPr>
        <p:spPr>
          <a:xfrm>
            <a:off x="3326740" y="2506695"/>
            <a:ext cx="738000" cy="1748060"/>
          </a:xfrm>
          <a:prstGeom prst="rect">
            <a:avLst/>
          </a:prstGeom>
          <a:solidFill>
            <a:schemeClr val="bg1">
              <a:lumMod val="95000"/>
            </a:schemeClr>
          </a:solidFill>
        </p:spPr>
        <p:txBody>
          <a:bodyPr wrap="square" lIns="0" rIns="36000">
            <a:noAutofit/>
          </a:bodyPr>
          <a:lstStyle/>
          <a:p>
            <a:pPr algn="ctr"/>
            <a:r>
              <a:rPr lang="en-AU" sz="1000" dirty="0"/>
              <a:t>Planner assesses whether or not an internal referral is required for the application. </a:t>
            </a:r>
          </a:p>
        </p:txBody>
      </p:sp>
      <p:sp>
        <p:nvSpPr>
          <p:cNvPr id="21" name="TextBox 20">
            <a:extLst>
              <a:ext uri="{FF2B5EF4-FFF2-40B4-BE49-F238E27FC236}">
                <a16:creationId xmlns:a16="http://schemas.microsoft.com/office/drawing/2014/main" id="{36D40ECD-D08C-9BDF-8E55-BB2E50072DF9}"/>
              </a:ext>
            </a:extLst>
          </p:cNvPr>
          <p:cNvSpPr txBox="1">
            <a:spLocks/>
          </p:cNvSpPr>
          <p:nvPr/>
        </p:nvSpPr>
        <p:spPr>
          <a:xfrm>
            <a:off x="4101863" y="2506695"/>
            <a:ext cx="738000" cy="1748060"/>
          </a:xfrm>
          <a:prstGeom prst="rect">
            <a:avLst/>
          </a:prstGeom>
          <a:solidFill>
            <a:schemeClr val="bg1">
              <a:lumMod val="95000"/>
            </a:schemeClr>
          </a:solidFill>
        </p:spPr>
        <p:txBody>
          <a:bodyPr wrap="square" lIns="0" rIns="36000">
            <a:noAutofit/>
          </a:bodyPr>
          <a:lstStyle/>
          <a:p>
            <a:pPr algn="ctr"/>
            <a:r>
              <a:rPr lang="en-AU" sz="1000" dirty="0"/>
              <a:t>Planner assesses whether the application should be discussed</a:t>
            </a:r>
            <a:br>
              <a:rPr lang="en-AU" sz="1000" dirty="0"/>
            </a:br>
            <a:r>
              <a:rPr lang="en-AU" sz="1000" dirty="0"/>
              <a:t>in meeting (optional).</a:t>
            </a:r>
          </a:p>
        </p:txBody>
      </p:sp>
      <p:sp>
        <p:nvSpPr>
          <p:cNvPr id="22" name="TextBox 21">
            <a:extLst>
              <a:ext uri="{FF2B5EF4-FFF2-40B4-BE49-F238E27FC236}">
                <a16:creationId xmlns:a16="http://schemas.microsoft.com/office/drawing/2014/main" id="{3FB3C59E-0A2F-0319-7A6A-F7A53CBD3EB6}"/>
              </a:ext>
            </a:extLst>
          </p:cNvPr>
          <p:cNvSpPr txBox="1">
            <a:spLocks/>
          </p:cNvSpPr>
          <p:nvPr/>
        </p:nvSpPr>
        <p:spPr>
          <a:xfrm>
            <a:off x="4876987" y="2506695"/>
            <a:ext cx="738000" cy="1748060"/>
          </a:xfrm>
          <a:prstGeom prst="rect">
            <a:avLst/>
          </a:prstGeom>
          <a:solidFill>
            <a:schemeClr val="bg1">
              <a:lumMod val="95000"/>
            </a:schemeClr>
          </a:solidFill>
        </p:spPr>
        <p:txBody>
          <a:bodyPr wrap="square" lIns="0" rIns="36000">
            <a:noAutofit/>
          </a:bodyPr>
          <a:lstStyle/>
          <a:p>
            <a:pPr algn="ctr"/>
            <a:r>
              <a:rPr lang="en-AU" sz="1000" dirty="0"/>
              <a:t>Planner prepares and submits their referral.</a:t>
            </a:r>
          </a:p>
        </p:txBody>
      </p:sp>
      <p:sp>
        <p:nvSpPr>
          <p:cNvPr id="31" name="TextBox 30">
            <a:extLst>
              <a:ext uri="{FF2B5EF4-FFF2-40B4-BE49-F238E27FC236}">
                <a16:creationId xmlns:a16="http://schemas.microsoft.com/office/drawing/2014/main" id="{BFD9B7EA-64EA-9873-F2CB-20E4DB719995}"/>
              </a:ext>
            </a:extLst>
          </p:cNvPr>
          <p:cNvSpPr txBox="1">
            <a:spLocks/>
          </p:cNvSpPr>
          <p:nvPr/>
        </p:nvSpPr>
        <p:spPr>
          <a:xfrm>
            <a:off x="2555875" y="4293812"/>
            <a:ext cx="3059112" cy="253916"/>
          </a:xfrm>
          <a:prstGeom prst="rect">
            <a:avLst/>
          </a:prstGeom>
          <a:solidFill>
            <a:schemeClr val="accent1"/>
          </a:solidFill>
        </p:spPr>
        <p:txBody>
          <a:bodyPr wrap="square">
            <a:spAutoFit/>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rgbClr val="53565A"/>
                </a:solidFill>
                <a:effectLst/>
                <a:uLnTx/>
                <a:uFillTx/>
                <a:latin typeface="Arial" panose="020B0604020202020204"/>
                <a:ea typeface="+mn-ea"/>
                <a:cs typeface="+mn-cs"/>
              </a:rPr>
              <a:t>Planner action</a:t>
            </a:r>
          </a:p>
        </p:txBody>
      </p:sp>
      <p:sp>
        <p:nvSpPr>
          <p:cNvPr id="37" name="TextBox 36">
            <a:extLst>
              <a:ext uri="{FF2B5EF4-FFF2-40B4-BE49-F238E27FC236}">
                <a16:creationId xmlns:a16="http://schemas.microsoft.com/office/drawing/2014/main" id="{00418BE4-BF44-33FC-49D3-00A70B8AEDD0}"/>
              </a:ext>
            </a:extLst>
          </p:cNvPr>
          <p:cNvSpPr txBox="1">
            <a:spLocks/>
          </p:cNvSpPr>
          <p:nvPr/>
        </p:nvSpPr>
        <p:spPr>
          <a:xfrm>
            <a:off x="2555875" y="4578949"/>
            <a:ext cx="3068930" cy="400110"/>
          </a:xfrm>
          <a:prstGeom prst="rect">
            <a:avLst/>
          </a:prstGeom>
          <a:solidFill>
            <a:schemeClr val="bg1">
              <a:lumMod val="95000"/>
            </a:schemeClr>
          </a:solidFill>
        </p:spPr>
        <p:txBody>
          <a:bodyPr wrap="square">
            <a:spAutoFit/>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prstClr val="black"/>
                </a:solidFill>
                <a:effectLst/>
                <a:highlight>
                  <a:srgbClr val="FFFF00"/>
                </a:highlight>
                <a:uLnTx/>
                <a:uFillTx/>
                <a:latin typeface="Arial" panose="020B0604020202020204"/>
                <a:ea typeface="+mn-ea"/>
                <a:cs typeface="+mn-cs"/>
              </a:rPr>
              <a:t>7 days </a:t>
            </a:r>
            <a:b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AU" sz="1000" b="0" i="0" u="none" strike="noStrike" kern="1200" cap="none" spc="0" normalizeH="0" baseline="0" noProof="0" dirty="0">
                <a:ln>
                  <a:noFill/>
                </a:ln>
                <a:solidFill>
                  <a:prstClr val="black"/>
                </a:solidFill>
                <a:effectLst/>
                <a:uLnTx/>
                <a:uFillTx/>
                <a:latin typeface="Arial" panose="020B0604020202020204"/>
                <a:ea typeface="+mn-ea"/>
                <a:cs typeface="+mn-cs"/>
              </a:rPr>
              <a:t>(please note this may be longer if an RFI is issued)</a:t>
            </a:r>
          </a:p>
        </p:txBody>
      </p:sp>
      <p:sp>
        <p:nvSpPr>
          <p:cNvPr id="10" name="TextBox 9">
            <a:extLst>
              <a:ext uri="{FF2B5EF4-FFF2-40B4-BE49-F238E27FC236}">
                <a16:creationId xmlns:a16="http://schemas.microsoft.com/office/drawing/2014/main" id="{37BF20FA-4514-B9C4-EA9E-4772F24F1B2F}"/>
              </a:ext>
            </a:extLst>
          </p:cNvPr>
          <p:cNvSpPr txBox="1">
            <a:spLocks/>
          </p:cNvSpPr>
          <p:nvPr/>
        </p:nvSpPr>
        <p:spPr>
          <a:xfrm>
            <a:off x="5650707" y="1268820"/>
            <a:ext cx="3042000" cy="738664"/>
          </a:xfrm>
          <a:prstGeom prst="rect">
            <a:avLst/>
          </a:prstGeom>
          <a:solidFill>
            <a:schemeClr val="accent6"/>
          </a:solidFill>
        </p:spPr>
        <p:txBody>
          <a:bodyPr wrap="square">
            <a:noAutofit/>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prstClr val="white"/>
                </a:solidFill>
                <a:effectLst/>
                <a:uLnTx/>
                <a:uFillTx/>
                <a:latin typeface="Arial" panose="020B0604020202020204"/>
                <a:ea typeface="+mn-ea"/>
                <a:cs typeface="+mn-cs"/>
              </a:rPr>
              <a:t>Referral departments receive application with all relevant documentation and assess the application to provide advice</a:t>
            </a:r>
          </a:p>
        </p:txBody>
      </p:sp>
      <p:sp>
        <p:nvSpPr>
          <p:cNvPr id="24" name="TextBox 23">
            <a:extLst>
              <a:ext uri="{FF2B5EF4-FFF2-40B4-BE49-F238E27FC236}">
                <a16:creationId xmlns:a16="http://schemas.microsoft.com/office/drawing/2014/main" id="{752B1D4E-18D1-369B-2C1E-5748E93368BC}"/>
              </a:ext>
            </a:extLst>
          </p:cNvPr>
          <p:cNvSpPr txBox="1">
            <a:spLocks/>
          </p:cNvSpPr>
          <p:nvPr/>
        </p:nvSpPr>
        <p:spPr>
          <a:xfrm>
            <a:off x="5650707" y="2506695"/>
            <a:ext cx="727200" cy="1748060"/>
          </a:xfrm>
          <a:prstGeom prst="rect">
            <a:avLst/>
          </a:prstGeom>
          <a:solidFill>
            <a:schemeClr val="bg1">
              <a:lumMod val="95000"/>
            </a:schemeClr>
          </a:solidFill>
        </p:spPr>
        <p:txBody>
          <a:bodyPr wrap="square" lIns="0" rIns="36000">
            <a:noAutofit/>
          </a:bodyPr>
          <a:lstStyle/>
          <a:p>
            <a:pPr algn="ctr"/>
            <a:r>
              <a:rPr lang="en-AU" sz="1000" dirty="0"/>
              <a:t>Dept allocates referral to officer</a:t>
            </a:r>
          </a:p>
        </p:txBody>
      </p:sp>
      <p:sp>
        <p:nvSpPr>
          <p:cNvPr id="25" name="TextBox 24">
            <a:extLst>
              <a:ext uri="{FF2B5EF4-FFF2-40B4-BE49-F238E27FC236}">
                <a16:creationId xmlns:a16="http://schemas.microsoft.com/office/drawing/2014/main" id="{240F4551-F972-6C3A-5C8C-F9E9C377E421}"/>
              </a:ext>
            </a:extLst>
          </p:cNvPr>
          <p:cNvSpPr txBox="1">
            <a:spLocks/>
          </p:cNvSpPr>
          <p:nvPr/>
        </p:nvSpPr>
        <p:spPr>
          <a:xfrm>
            <a:off x="6417629" y="2506695"/>
            <a:ext cx="727200" cy="1748060"/>
          </a:xfrm>
          <a:prstGeom prst="rect">
            <a:avLst/>
          </a:prstGeom>
          <a:solidFill>
            <a:schemeClr val="bg1">
              <a:lumMod val="95000"/>
            </a:schemeClr>
          </a:solidFill>
        </p:spPr>
        <p:txBody>
          <a:bodyPr wrap="square" lIns="0" rIns="36000">
            <a:noAutofit/>
          </a:bodyPr>
          <a:lstStyle/>
          <a:p>
            <a:pPr algn="ctr"/>
            <a:r>
              <a:rPr lang="en-AU" sz="1000" dirty="0"/>
              <a:t>Referees review</a:t>
            </a:r>
            <a:br>
              <a:rPr lang="en-AU" sz="1000" dirty="0"/>
            </a:br>
            <a:r>
              <a:rPr lang="en-AU" sz="1000" dirty="0"/>
              <a:t>application in detail.</a:t>
            </a:r>
          </a:p>
        </p:txBody>
      </p:sp>
      <p:sp>
        <p:nvSpPr>
          <p:cNvPr id="26" name="TextBox 25">
            <a:extLst>
              <a:ext uri="{FF2B5EF4-FFF2-40B4-BE49-F238E27FC236}">
                <a16:creationId xmlns:a16="http://schemas.microsoft.com/office/drawing/2014/main" id="{FBA62757-0589-9746-79CD-419287B4BD02}"/>
              </a:ext>
            </a:extLst>
          </p:cNvPr>
          <p:cNvSpPr txBox="1">
            <a:spLocks/>
          </p:cNvSpPr>
          <p:nvPr/>
        </p:nvSpPr>
        <p:spPr>
          <a:xfrm>
            <a:off x="7184551" y="2506695"/>
            <a:ext cx="727200" cy="1748060"/>
          </a:xfrm>
          <a:prstGeom prst="rect">
            <a:avLst/>
          </a:prstGeom>
          <a:solidFill>
            <a:schemeClr val="bg1">
              <a:lumMod val="95000"/>
            </a:schemeClr>
          </a:solidFill>
        </p:spPr>
        <p:txBody>
          <a:bodyPr wrap="square" lIns="0" rIns="36000">
            <a:noAutofit/>
          </a:bodyPr>
          <a:lstStyle/>
          <a:p>
            <a:pPr algn="ctr"/>
            <a:r>
              <a:rPr lang="en-AU" sz="1000" dirty="0"/>
              <a:t>Referees may contact other departments for further advice.</a:t>
            </a:r>
          </a:p>
        </p:txBody>
      </p:sp>
      <p:sp>
        <p:nvSpPr>
          <p:cNvPr id="27" name="TextBox 26">
            <a:extLst>
              <a:ext uri="{FF2B5EF4-FFF2-40B4-BE49-F238E27FC236}">
                <a16:creationId xmlns:a16="http://schemas.microsoft.com/office/drawing/2014/main" id="{9584978D-B75C-B02F-4A05-7DAA1A46CC2D}"/>
              </a:ext>
            </a:extLst>
          </p:cNvPr>
          <p:cNvSpPr txBox="1">
            <a:spLocks/>
          </p:cNvSpPr>
          <p:nvPr/>
        </p:nvSpPr>
        <p:spPr>
          <a:xfrm>
            <a:off x="7951473" y="2506695"/>
            <a:ext cx="727200" cy="1748060"/>
          </a:xfrm>
          <a:prstGeom prst="rect">
            <a:avLst/>
          </a:prstGeom>
          <a:solidFill>
            <a:schemeClr val="bg1">
              <a:lumMod val="95000"/>
            </a:schemeClr>
          </a:solidFill>
        </p:spPr>
        <p:txBody>
          <a:bodyPr wrap="square" lIns="0" rIns="36000">
            <a:noAutofit/>
          </a:bodyPr>
          <a:lstStyle/>
          <a:p>
            <a:pPr marL="0" marR="0" lvl="0" indent="0" algn="ctr" defTabSz="995230" rtl="0" eaLnBrk="1" fontAlgn="auto" latinLnBrk="0" hangingPunct="1">
              <a:lnSpc>
                <a:spcPct val="100000"/>
              </a:lnSpc>
              <a:spcBef>
                <a:spcPts val="0"/>
              </a:spcBef>
              <a:spcAft>
                <a:spcPts val="0"/>
              </a:spcAft>
              <a:buClrTx/>
              <a:buSzTx/>
              <a:buFontTx/>
              <a:buNone/>
              <a:tabLst/>
              <a:defRPr/>
            </a:pPr>
            <a:r>
              <a:rPr lang="en-AU" sz="1000" dirty="0"/>
              <a:t>Referees finalise</a:t>
            </a:r>
            <a:br>
              <a:rPr lang="en-AU" sz="1000" dirty="0"/>
            </a:br>
            <a:r>
              <a:rPr lang="en-AU" sz="1000" dirty="0"/>
              <a:t>and submit advice to the</a:t>
            </a:r>
            <a:br>
              <a:rPr lang="en-AU" sz="1000" dirty="0"/>
            </a:br>
            <a:r>
              <a:rPr lang="en-AU" sz="1000" dirty="0"/>
              <a:t>planning team</a:t>
            </a:r>
          </a:p>
        </p:txBody>
      </p:sp>
      <p:sp>
        <p:nvSpPr>
          <p:cNvPr id="33" name="TextBox 32">
            <a:extLst>
              <a:ext uri="{FF2B5EF4-FFF2-40B4-BE49-F238E27FC236}">
                <a16:creationId xmlns:a16="http://schemas.microsoft.com/office/drawing/2014/main" id="{86534FD0-3738-3909-DBFA-022268844AE0}"/>
              </a:ext>
            </a:extLst>
          </p:cNvPr>
          <p:cNvSpPr txBox="1">
            <a:spLocks/>
          </p:cNvSpPr>
          <p:nvPr/>
        </p:nvSpPr>
        <p:spPr>
          <a:xfrm>
            <a:off x="5656817" y="4293812"/>
            <a:ext cx="3035890" cy="253916"/>
          </a:xfrm>
          <a:prstGeom prst="rect">
            <a:avLst/>
          </a:prstGeom>
          <a:solidFill>
            <a:schemeClr val="accent6"/>
          </a:solidFill>
        </p:spPr>
        <p:txBody>
          <a:bodyPr wrap="square">
            <a:spAutoFit/>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prstClr val="white"/>
                </a:solidFill>
                <a:effectLst/>
                <a:uLnTx/>
                <a:uFillTx/>
                <a:latin typeface="Arial" panose="020B0604020202020204"/>
                <a:ea typeface="+mn-ea"/>
                <a:cs typeface="+mn-cs"/>
              </a:rPr>
              <a:t>Referring department action</a:t>
            </a:r>
          </a:p>
        </p:txBody>
      </p:sp>
      <p:sp>
        <p:nvSpPr>
          <p:cNvPr id="39" name="TextBox 38">
            <a:extLst>
              <a:ext uri="{FF2B5EF4-FFF2-40B4-BE49-F238E27FC236}">
                <a16:creationId xmlns:a16="http://schemas.microsoft.com/office/drawing/2014/main" id="{B464E081-1CBF-AE22-3DD0-01E54B3C4C2C}"/>
              </a:ext>
            </a:extLst>
          </p:cNvPr>
          <p:cNvSpPr txBox="1">
            <a:spLocks/>
          </p:cNvSpPr>
          <p:nvPr/>
        </p:nvSpPr>
        <p:spPr>
          <a:xfrm>
            <a:off x="5663461" y="4578949"/>
            <a:ext cx="3029246" cy="400110"/>
          </a:xfrm>
          <a:prstGeom prst="rect">
            <a:avLst/>
          </a:prstGeom>
          <a:solidFill>
            <a:schemeClr val="bg1">
              <a:lumMod val="95000"/>
            </a:schemeClr>
          </a:solidFill>
        </p:spPr>
        <p:txBody>
          <a:bodyPr wrap="square">
            <a:noAutofit/>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prstClr val="black"/>
                </a:solidFill>
                <a:effectLst/>
                <a:highlight>
                  <a:srgbClr val="FFFF00"/>
                </a:highlight>
                <a:uLnTx/>
                <a:uFillTx/>
                <a:latin typeface="Arial" panose="020B0604020202020204"/>
                <a:ea typeface="+mn-ea"/>
                <a:cs typeface="+mn-cs"/>
              </a:rPr>
              <a:t>14 days</a:t>
            </a:r>
          </a:p>
        </p:txBody>
      </p:sp>
      <p:sp>
        <p:nvSpPr>
          <p:cNvPr id="14" name="TextBox 13">
            <a:extLst>
              <a:ext uri="{FF2B5EF4-FFF2-40B4-BE49-F238E27FC236}">
                <a16:creationId xmlns:a16="http://schemas.microsoft.com/office/drawing/2014/main" id="{133C18A1-174E-BC66-700B-10799AF0AE15}"/>
              </a:ext>
            </a:extLst>
          </p:cNvPr>
          <p:cNvSpPr txBox="1">
            <a:spLocks/>
          </p:cNvSpPr>
          <p:nvPr/>
        </p:nvSpPr>
        <p:spPr>
          <a:xfrm>
            <a:off x="8728427" y="1263532"/>
            <a:ext cx="1529998" cy="738664"/>
          </a:xfrm>
          <a:prstGeom prst="rect">
            <a:avLst/>
          </a:prstGeom>
          <a:solidFill>
            <a:schemeClr val="accent6"/>
          </a:solidFill>
        </p:spPr>
        <p:txBody>
          <a:bodyPr wrap="square">
            <a:spAutoFit/>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prstClr val="white"/>
                </a:solidFill>
                <a:effectLst/>
                <a:uLnTx/>
                <a:uFillTx/>
                <a:latin typeface="Arial" panose="020B0604020202020204"/>
                <a:ea typeface="+mn-ea"/>
                <a:cs typeface="+mn-cs"/>
              </a:rPr>
              <a:t>Planner receives clear advice and can easily take appropriate action</a:t>
            </a:r>
          </a:p>
        </p:txBody>
      </p:sp>
      <p:sp>
        <p:nvSpPr>
          <p:cNvPr id="28" name="TextBox 27">
            <a:extLst>
              <a:ext uri="{FF2B5EF4-FFF2-40B4-BE49-F238E27FC236}">
                <a16:creationId xmlns:a16="http://schemas.microsoft.com/office/drawing/2014/main" id="{0630261C-78DA-C75E-C364-96B89404A2CB}"/>
              </a:ext>
            </a:extLst>
          </p:cNvPr>
          <p:cNvSpPr txBox="1">
            <a:spLocks/>
          </p:cNvSpPr>
          <p:nvPr/>
        </p:nvSpPr>
        <p:spPr>
          <a:xfrm>
            <a:off x="8729662" y="2506695"/>
            <a:ext cx="763763" cy="1748060"/>
          </a:xfrm>
          <a:prstGeom prst="rect">
            <a:avLst/>
          </a:prstGeom>
          <a:solidFill>
            <a:schemeClr val="bg1">
              <a:lumMod val="95000"/>
            </a:schemeClr>
          </a:solidFill>
        </p:spPr>
        <p:txBody>
          <a:bodyPr wrap="square" lIns="0" rIns="36000">
            <a:noAutofit/>
          </a:bodyPr>
          <a:lstStyle/>
          <a:p>
            <a:pPr algn="ctr"/>
            <a:r>
              <a:rPr lang="en-AU" sz="1000" dirty="0"/>
              <a:t>Planner receives advice, incorporates into application</a:t>
            </a:r>
          </a:p>
        </p:txBody>
      </p:sp>
      <p:sp>
        <p:nvSpPr>
          <p:cNvPr id="29" name="TextBox 28">
            <a:extLst>
              <a:ext uri="{FF2B5EF4-FFF2-40B4-BE49-F238E27FC236}">
                <a16:creationId xmlns:a16="http://schemas.microsoft.com/office/drawing/2014/main" id="{635D267D-FD50-AFDE-B4E7-4DD796163CCC}"/>
              </a:ext>
            </a:extLst>
          </p:cNvPr>
          <p:cNvSpPr txBox="1">
            <a:spLocks/>
          </p:cNvSpPr>
          <p:nvPr/>
        </p:nvSpPr>
        <p:spPr>
          <a:xfrm>
            <a:off x="9520425" y="2506695"/>
            <a:ext cx="738000" cy="1748060"/>
          </a:xfrm>
          <a:prstGeom prst="rect">
            <a:avLst/>
          </a:prstGeom>
          <a:solidFill>
            <a:schemeClr val="bg1">
              <a:lumMod val="95000"/>
            </a:schemeClr>
          </a:solidFill>
        </p:spPr>
        <p:txBody>
          <a:bodyPr wrap="square" lIns="0" rIns="36000">
            <a:noAutofit/>
          </a:bodyPr>
          <a:lstStyle/>
          <a:p>
            <a:pPr algn="ctr"/>
            <a:r>
              <a:rPr lang="en-AU" sz="1000" dirty="0"/>
              <a:t>Planner responds to applicant with next steps</a:t>
            </a:r>
          </a:p>
        </p:txBody>
      </p:sp>
      <p:sp>
        <p:nvSpPr>
          <p:cNvPr id="35" name="TextBox 34">
            <a:extLst>
              <a:ext uri="{FF2B5EF4-FFF2-40B4-BE49-F238E27FC236}">
                <a16:creationId xmlns:a16="http://schemas.microsoft.com/office/drawing/2014/main" id="{E94AF33F-D572-8042-C947-62E86FEDCD8F}"/>
              </a:ext>
            </a:extLst>
          </p:cNvPr>
          <p:cNvSpPr txBox="1">
            <a:spLocks/>
          </p:cNvSpPr>
          <p:nvPr/>
        </p:nvSpPr>
        <p:spPr>
          <a:xfrm>
            <a:off x="8728427" y="4293812"/>
            <a:ext cx="1529998" cy="253916"/>
          </a:xfrm>
          <a:prstGeom prst="rect">
            <a:avLst/>
          </a:prstGeom>
          <a:solidFill>
            <a:schemeClr val="accent1"/>
          </a:solidFill>
        </p:spPr>
        <p:txBody>
          <a:bodyPr wrap="square">
            <a:spAutoFit/>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dirty="0">
                <a:ln>
                  <a:noFill/>
                </a:ln>
                <a:solidFill>
                  <a:schemeClr val="accent6"/>
                </a:solidFill>
                <a:effectLst/>
                <a:uLnTx/>
                <a:uFillTx/>
                <a:latin typeface="Arial" panose="020B0604020202020204"/>
                <a:ea typeface="+mn-ea"/>
                <a:cs typeface="+mn-cs"/>
              </a:rPr>
              <a:t>Planner action</a:t>
            </a:r>
          </a:p>
        </p:txBody>
      </p:sp>
      <p:sp>
        <p:nvSpPr>
          <p:cNvPr id="41" name="TextBox 40">
            <a:extLst>
              <a:ext uri="{FF2B5EF4-FFF2-40B4-BE49-F238E27FC236}">
                <a16:creationId xmlns:a16="http://schemas.microsoft.com/office/drawing/2014/main" id="{04F8AB15-5328-2F57-C105-4A7AF588BF6D}"/>
              </a:ext>
            </a:extLst>
          </p:cNvPr>
          <p:cNvSpPr txBox="1">
            <a:spLocks/>
          </p:cNvSpPr>
          <p:nvPr/>
        </p:nvSpPr>
        <p:spPr>
          <a:xfrm>
            <a:off x="8728427" y="4578949"/>
            <a:ext cx="1529998" cy="400110"/>
          </a:xfrm>
          <a:prstGeom prst="rect">
            <a:avLst/>
          </a:prstGeom>
          <a:solidFill>
            <a:schemeClr val="bg1">
              <a:lumMod val="95000"/>
            </a:schemeClr>
          </a:solidFill>
        </p:spPr>
        <p:txBody>
          <a:bodyPr wrap="square">
            <a:noAutofit/>
          </a:bodyPr>
          <a:lstStyle/>
          <a:p>
            <a:pPr marL="0" marR="0" lvl="0" indent="0" algn="ctr" defTabSz="1007943"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prstClr val="black"/>
                </a:solidFill>
                <a:effectLst/>
                <a:highlight>
                  <a:srgbClr val="FFFF00"/>
                </a:highlight>
                <a:uLnTx/>
                <a:uFillTx/>
                <a:latin typeface="Arial" panose="020B0604020202020204"/>
                <a:ea typeface="+mn-ea"/>
                <a:cs typeface="+mn-cs"/>
              </a:rPr>
              <a:t>7 days</a:t>
            </a:r>
          </a:p>
        </p:txBody>
      </p:sp>
      <p:grpSp>
        <p:nvGrpSpPr>
          <p:cNvPr id="52" name="Group 51">
            <a:extLst>
              <a:ext uri="{FF2B5EF4-FFF2-40B4-BE49-F238E27FC236}">
                <a16:creationId xmlns:a16="http://schemas.microsoft.com/office/drawing/2014/main" id="{BF2FE100-A0E0-9847-2EED-B72A093BBF40}"/>
              </a:ext>
              <a:ext uri="{C183D7F6-B498-43B3-948B-1728B52AA6E4}">
                <adec:decorative xmlns:adec="http://schemas.microsoft.com/office/drawing/2017/decorative" val="1"/>
              </a:ext>
            </a:extLst>
          </p:cNvPr>
          <p:cNvGrpSpPr>
            <a:grpSpLocks/>
          </p:cNvGrpSpPr>
          <p:nvPr/>
        </p:nvGrpSpPr>
        <p:grpSpPr>
          <a:xfrm>
            <a:off x="2859263" y="2223999"/>
            <a:ext cx="7050308" cy="116681"/>
            <a:chOff x="2859263" y="2223999"/>
            <a:chExt cx="7050308" cy="116681"/>
          </a:xfrm>
        </p:grpSpPr>
        <p:cxnSp>
          <p:nvCxnSpPr>
            <p:cNvPr id="15" name="Straight Connector 14">
              <a:extLst>
                <a:ext uri="{FF2B5EF4-FFF2-40B4-BE49-F238E27FC236}">
                  <a16:creationId xmlns:a16="http://schemas.microsoft.com/office/drawing/2014/main" id="{25EB59F9-D292-82E8-3413-88F465BDFAA3}"/>
                </a:ext>
              </a:extLst>
            </p:cNvPr>
            <p:cNvCxnSpPr>
              <a:cxnSpLocks/>
            </p:cNvCxnSpPr>
            <p:nvPr/>
          </p:nvCxnSpPr>
          <p:spPr>
            <a:xfrm>
              <a:off x="2936081" y="2271713"/>
              <a:ext cx="2678906"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69F39E0-3104-9D47-735D-8A1B65BBF658}"/>
                </a:ext>
              </a:extLst>
            </p:cNvPr>
            <p:cNvCxnSpPr>
              <a:cxnSpLocks/>
            </p:cNvCxnSpPr>
            <p:nvPr/>
          </p:nvCxnSpPr>
          <p:spPr>
            <a:xfrm>
              <a:off x="8729663" y="2271713"/>
              <a:ext cx="112156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FA6FDDD-1F98-D2E6-7DA5-2E7BDA948F44}"/>
                </a:ext>
              </a:extLst>
            </p:cNvPr>
            <p:cNvCxnSpPr>
              <a:cxnSpLocks/>
            </p:cNvCxnSpPr>
            <p:nvPr/>
          </p:nvCxnSpPr>
          <p:spPr>
            <a:xfrm>
              <a:off x="5650707" y="2271713"/>
              <a:ext cx="3042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14BB16BB-F855-A301-053A-514FF5E8BEBC}"/>
                </a:ext>
              </a:extLst>
            </p:cNvPr>
            <p:cNvSpPr>
              <a:spLocks/>
            </p:cNvSpPr>
            <p:nvPr/>
          </p:nvSpPr>
          <p:spPr>
            <a:xfrm>
              <a:off x="2859263" y="2223999"/>
              <a:ext cx="116681" cy="11668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3" name="Oval 42">
              <a:extLst>
                <a:ext uri="{FF2B5EF4-FFF2-40B4-BE49-F238E27FC236}">
                  <a16:creationId xmlns:a16="http://schemas.microsoft.com/office/drawing/2014/main" id="{0C973767-ACC4-8EFB-4FBE-D21A688F0D99}"/>
                </a:ext>
              </a:extLst>
            </p:cNvPr>
            <p:cNvSpPr>
              <a:spLocks/>
            </p:cNvSpPr>
            <p:nvPr/>
          </p:nvSpPr>
          <p:spPr>
            <a:xfrm>
              <a:off x="3645623" y="2223999"/>
              <a:ext cx="116681" cy="11668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4" name="Oval 43">
              <a:extLst>
                <a:ext uri="{FF2B5EF4-FFF2-40B4-BE49-F238E27FC236}">
                  <a16:creationId xmlns:a16="http://schemas.microsoft.com/office/drawing/2014/main" id="{97C4AA8B-6F84-179B-EDDE-E41A0C259D8D}"/>
                </a:ext>
              </a:extLst>
            </p:cNvPr>
            <p:cNvSpPr>
              <a:spLocks/>
            </p:cNvSpPr>
            <p:nvPr/>
          </p:nvSpPr>
          <p:spPr>
            <a:xfrm>
              <a:off x="4431983" y="2223999"/>
              <a:ext cx="116681" cy="11668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5" name="Oval 44">
              <a:extLst>
                <a:ext uri="{FF2B5EF4-FFF2-40B4-BE49-F238E27FC236}">
                  <a16:creationId xmlns:a16="http://schemas.microsoft.com/office/drawing/2014/main" id="{DAAC1EF3-5B98-AD9E-7E28-0CE17B9DABBD}"/>
                </a:ext>
              </a:extLst>
            </p:cNvPr>
            <p:cNvSpPr>
              <a:spLocks/>
            </p:cNvSpPr>
            <p:nvPr/>
          </p:nvSpPr>
          <p:spPr>
            <a:xfrm>
              <a:off x="5218343" y="2223999"/>
              <a:ext cx="116681" cy="11668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6" name="Oval 45">
              <a:extLst>
                <a:ext uri="{FF2B5EF4-FFF2-40B4-BE49-F238E27FC236}">
                  <a16:creationId xmlns:a16="http://schemas.microsoft.com/office/drawing/2014/main" id="{A3D7A5ED-053C-C206-7810-DF5BE3CD344D}"/>
                </a:ext>
              </a:extLst>
            </p:cNvPr>
            <p:cNvSpPr>
              <a:spLocks/>
            </p:cNvSpPr>
            <p:nvPr/>
          </p:nvSpPr>
          <p:spPr>
            <a:xfrm>
              <a:off x="9054550" y="2223999"/>
              <a:ext cx="116681" cy="11668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7" name="Oval 46">
              <a:extLst>
                <a:ext uri="{FF2B5EF4-FFF2-40B4-BE49-F238E27FC236}">
                  <a16:creationId xmlns:a16="http://schemas.microsoft.com/office/drawing/2014/main" id="{D64DFA21-7240-11ED-7479-AAE10ADBCD3A}"/>
                </a:ext>
              </a:extLst>
            </p:cNvPr>
            <p:cNvSpPr>
              <a:spLocks/>
            </p:cNvSpPr>
            <p:nvPr/>
          </p:nvSpPr>
          <p:spPr>
            <a:xfrm>
              <a:off x="9792890" y="2223999"/>
              <a:ext cx="116681" cy="11668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8" name="Oval 47">
              <a:extLst>
                <a:ext uri="{FF2B5EF4-FFF2-40B4-BE49-F238E27FC236}">
                  <a16:creationId xmlns:a16="http://schemas.microsoft.com/office/drawing/2014/main" id="{ABE92E6F-1022-52C3-C85E-4A75E35B058D}"/>
                </a:ext>
              </a:extLst>
            </p:cNvPr>
            <p:cNvSpPr>
              <a:spLocks/>
            </p:cNvSpPr>
            <p:nvPr/>
          </p:nvSpPr>
          <p:spPr>
            <a:xfrm>
              <a:off x="5957130" y="2223999"/>
              <a:ext cx="116681" cy="11668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9" name="Oval 48">
              <a:extLst>
                <a:ext uri="{FF2B5EF4-FFF2-40B4-BE49-F238E27FC236}">
                  <a16:creationId xmlns:a16="http://schemas.microsoft.com/office/drawing/2014/main" id="{7D6842EC-85C4-6C6D-D180-A83DF34CBA25}"/>
                </a:ext>
              </a:extLst>
            </p:cNvPr>
            <p:cNvSpPr>
              <a:spLocks/>
            </p:cNvSpPr>
            <p:nvPr/>
          </p:nvSpPr>
          <p:spPr>
            <a:xfrm>
              <a:off x="6727483" y="2223999"/>
              <a:ext cx="116681" cy="11668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0" name="Oval 49">
              <a:extLst>
                <a:ext uri="{FF2B5EF4-FFF2-40B4-BE49-F238E27FC236}">
                  <a16:creationId xmlns:a16="http://schemas.microsoft.com/office/drawing/2014/main" id="{896DA123-5578-3AB4-CC68-DDC586F939CD}"/>
                </a:ext>
              </a:extLst>
            </p:cNvPr>
            <p:cNvSpPr>
              <a:spLocks/>
            </p:cNvSpPr>
            <p:nvPr/>
          </p:nvSpPr>
          <p:spPr>
            <a:xfrm>
              <a:off x="7497836" y="2223999"/>
              <a:ext cx="116681" cy="11668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1" name="Oval 50">
              <a:extLst>
                <a:ext uri="{FF2B5EF4-FFF2-40B4-BE49-F238E27FC236}">
                  <a16:creationId xmlns:a16="http://schemas.microsoft.com/office/drawing/2014/main" id="{0B9A7B3A-C0BD-79D0-113E-818D8FCC01A5}"/>
                </a:ext>
              </a:extLst>
            </p:cNvPr>
            <p:cNvSpPr>
              <a:spLocks/>
            </p:cNvSpPr>
            <p:nvPr/>
          </p:nvSpPr>
          <p:spPr>
            <a:xfrm>
              <a:off x="8268190" y="2223999"/>
              <a:ext cx="116681" cy="11668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3" name="TextBox 2">
            <a:extLst>
              <a:ext uri="{FF2B5EF4-FFF2-40B4-BE49-F238E27FC236}">
                <a16:creationId xmlns:a16="http://schemas.microsoft.com/office/drawing/2014/main" id="{67174CAC-564C-0089-D266-0556F2308BD2}"/>
              </a:ext>
            </a:extLst>
          </p:cNvPr>
          <p:cNvSpPr txBox="1"/>
          <p:nvPr/>
        </p:nvSpPr>
        <p:spPr>
          <a:xfrm>
            <a:off x="6759333" y="6313251"/>
            <a:ext cx="3499090" cy="938719"/>
          </a:xfrm>
          <a:prstGeom prst="rect">
            <a:avLst/>
          </a:prstGeom>
          <a:noFill/>
          <a:ln>
            <a:solidFill>
              <a:srgbClr val="FF0000"/>
            </a:solidFill>
          </a:ln>
        </p:spPr>
        <p:txBody>
          <a:bodyPr wrap="square" lIns="91440" tIns="45720" rIns="91440" bIns="45720" rtlCol="0" anchor="t">
            <a:spAutoFit/>
          </a:bodyPr>
          <a:lstStyle/>
          <a:p>
            <a:r>
              <a:rPr lang="en-AU" sz="1100" b="1" dirty="0">
                <a:solidFill>
                  <a:srgbClr val="FF0000"/>
                </a:solidFill>
              </a:rPr>
              <a:t>Implementation notes: </a:t>
            </a:r>
            <a:r>
              <a:rPr lang="en-AU" sz="1100" dirty="0">
                <a:solidFill>
                  <a:srgbClr val="FF0000"/>
                </a:solidFill>
              </a:rPr>
              <a:t>Process steps and timeframes are a guide and should be reviewed and updated to suit your Council’s processes. The process and timeframes should be consistent with the SLA and service flow.</a:t>
            </a:r>
          </a:p>
        </p:txBody>
      </p:sp>
    </p:spTree>
    <p:extLst>
      <p:ext uri="{BB962C8B-B14F-4D97-AF65-F5344CB8AC3E}">
        <p14:creationId xmlns:p14="http://schemas.microsoft.com/office/powerpoint/2010/main" val="11110079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C756286-4F85-B366-DF13-4D7C17C73EB7}"/>
              </a:ext>
              <a:ext uri="{C183D7F6-B498-43B3-948B-1728B52AA6E4}">
                <adec:decorative xmlns:adec="http://schemas.microsoft.com/office/drawing/2017/decorative" val="1"/>
              </a:ext>
            </a:extLst>
          </p:cNvPr>
          <p:cNvSpPr>
            <a:spLocks noGrp="1"/>
          </p:cNvSpPr>
          <p:nvPr>
            <p:ph type="sldNum" sz="quarter" idx="4"/>
          </p:nvPr>
        </p:nvSpPr>
        <p:spPr/>
        <p:txBody>
          <a:bodyPr/>
          <a:lstStyle/>
          <a:p>
            <a:pPr algn="l"/>
            <a:fld id="{48F63A3B-78C7-47BE-AE5E-E10140E04643}" type="slidenum">
              <a:rPr lang="en-US" smtClean="0"/>
              <a:pPr algn="l"/>
              <a:t>4</a:t>
            </a:fld>
            <a:endParaRPr lang="en-US"/>
          </a:p>
        </p:txBody>
      </p:sp>
      <p:sp>
        <p:nvSpPr>
          <p:cNvPr id="12" name="Content Placeholder 11">
            <a:extLst>
              <a:ext uri="{FF2B5EF4-FFF2-40B4-BE49-F238E27FC236}">
                <a16:creationId xmlns:a16="http://schemas.microsoft.com/office/drawing/2014/main" id="{28B2B0E2-D589-3D6E-8E8E-72C6A1EB897B}"/>
              </a:ext>
            </a:extLst>
          </p:cNvPr>
          <p:cNvSpPr>
            <a:spLocks noGrp="1"/>
          </p:cNvSpPr>
          <p:nvPr>
            <p:ph sz="quarter" idx="33"/>
          </p:nvPr>
        </p:nvSpPr>
        <p:spPr/>
        <p:txBody>
          <a:bodyPr/>
          <a:lstStyle/>
          <a:p>
            <a:r>
              <a:rPr lang="en-AU" sz="1100" b="0" dirty="0">
                <a:highlight>
                  <a:srgbClr val="FFFF00"/>
                </a:highlight>
              </a:rPr>
              <a:t>[Council name] </a:t>
            </a:r>
            <a:r>
              <a:rPr lang="en-AU" sz="1100" b="0" dirty="0"/>
              <a:t>currently</a:t>
            </a:r>
            <a:br>
              <a:rPr lang="en-AU" sz="1100" b="0" dirty="0"/>
            </a:br>
            <a:r>
              <a:rPr lang="en-AU" sz="1100" b="0" dirty="0"/>
              <a:t>use multiple communication channels to share information and content. Internal referrals are managed in </a:t>
            </a:r>
            <a:r>
              <a:rPr lang="en-AU" sz="1100" b="0" dirty="0">
                <a:highlight>
                  <a:srgbClr val="FFFF00"/>
                </a:highlight>
              </a:rPr>
              <a:t>[software name]</a:t>
            </a:r>
            <a:r>
              <a:rPr lang="en-AU" sz="1100" b="0" dirty="0"/>
              <a:t>, as it enables teams to work collaboratively on applications and track changes over time. The system is not intended to replace conversations. Teams use email and meetings to help contextualise larger applications and solve problems. The Council uses </a:t>
            </a:r>
            <a:r>
              <a:rPr lang="en-AU" sz="1100" b="0" dirty="0">
                <a:highlight>
                  <a:srgbClr val="FFFF00"/>
                </a:highlight>
              </a:rPr>
              <a:t>[software name] </a:t>
            </a:r>
            <a:r>
              <a:rPr lang="en-AU" sz="1100" b="0" dirty="0"/>
              <a:t>to manage documentation associated with applications.</a:t>
            </a:r>
          </a:p>
        </p:txBody>
      </p:sp>
      <p:sp>
        <p:nvSpPr>
          <p:cNvPr id="9" name="Text Placeholder 8">
            <a:extLst>
              <a:ext uri="{FF2B5EF4-FFF2-40B4-BE49-F238E27FC236}">
                <a16:creationId xmlns:a16="http://schemas.microsoft.com/office/drawing/2014/main" id="{DDE7D5E0-C7D5-2B0E-FE19-B9EBF50B86AB}"/>
              </a:ext>
            </a:extLst>
          </p:cNvPr>
          <p:cNvSpPr>
            <a:spLocks noGrp="1"/>
          </p:cNvSpPr>
          <p:nvPr>
            <p:ph type="title" idx="4294967295"/>
          </p:nvPr>
        </p:nvSpPr>
        <p:spPr>
          <a:xfrm>
            <a:off x="2555875" y="576263"/>
            <a:ext cx="7702550" cy="346075"/>
          </a:xfrm>
          <a:prstGeom prst="rect">
            <a:avLst/>
          </a:prstGeom>
          <a:noFill/>
          <a:ln>
            <a:noFill/>
            <a:prstDash/>
          </a:ln>
          <a:effectLst/>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marR="0" lvl="0" indent="0" algn="l" defTabSz="1007943" rtl="0" eaLnBrk="1" fontAlgn="auto" latinLnBrk="0" hangingPunct="1">
              <a:lnSpc>
                <a:spcPct val="100000"/>
              </a:lnSpc>
              <a:spcBef>
                <a:spcPts val="661"/>
              </a:spcBef>
              <a:spcAft>
                <a:spcPts val="0"/>
              </a:spcAft>
              <a:buClrTx/>
              <a:buSzTx/>
              <a:buFont typeface="Arial" panose="020B0604020202020204" pitchFamily="34" charset="0"/>
              <a:buNone/>
              <a:tabLst/>
              <a:defRPr/>
            </a:pPr>
            <a:r>
              <a:rPr kumimoji="0" lang="en-AU" sz="1800" b="0" i="0" u="none" strike="noStrike" kern="1200" cap="none" spc="0" normalizeH="0" baseline="0" noProof="0" dirty="0">
                <a:ln>
                  <a:noFill/>
                </a:ln>
                <a:solidFill>
                  <a:schemeClr val="accent6"/>
                </a:solidFill>
                <a:effectLst/>
                <a:uLnTx/>
                <a:uFillTx/>
                <a:latin typeface="Segoe UI Semibold" panose="020B0702040204020203" pitchFamily="34" charset="0"/>
                <a:ea typeface="Segoe UI Semibold" panose="020B0702040204020203" pitchFamily="34" charset="0"/>
                <a:cs typeface="Segoe UI Semibold" panose="020B0702040204020203" pitchFamily="34" charset="0"/>
              </a:rPr>
              <a:t>What systems and tools do we use, and for what?</a:t>
            </a:r>
          </a:p>
        </p:txBody>
      </p:sp>
      <p:sp>
        <p:nvSpPr>
          <p:cNvPr id="5" name="TextBox 4">
            <a:extLst>
              <a:ext uri="{FF2B5EF4-FFF2-40B4-BE49-F238E27FC236}">
                <a16:creationId xmlns:a16="http://schemas.microsoft.com/office/drawing/2014/main" id="{46183160-5A21-8157-440B-0FEA8F62188E}"/>
              </a:ext>
            </a:extLst>
          </p:cNvPr>
          <p:cNvSpPr txBox="1">
            <a:spLocks/>
          </p:cNvSpPr>
          <p:nvPr/>
        </p:nvSpPr>
        <p:spPr>
          <a:xfrm>
            <a:off x="2555875" y="1268820"/>
            <a:ext cx="2549525" cy="733372"/>
          </a:xfrm>
          <a:prstGeom prst="rect">
            <a:avLst/>
          </a:prstGeom>
          <a:solidFill>
            <a:schemeClr val="bg2"/>
          </a:solidFill>
        </p:spPr>
        <p:txBody>
          <a:bodyPr wrap="square" anchor="ctr">
            <a:noAutofit/>
          </a:bodyPr>
          <a:lstStyle/>
          <a:p>
            <a:pPr marL="0" marR="0" lvl="0" indent="0" algn="ctr" defTabSz="1007943" rtl="0" eaLnBrk="1" fontAlgn="auto" latinLnBrk="0" hangingPunct="1">
              <a:lnSpc>
                <a:spcPct val="107000"/>
              </a:lnSpc>
              <a:spcBef>
                <a:spcPts val="0"/>
              </a:spcBef>
              <a:spcAft>
                <a:spcPts val="300"/>
              </a:spcAft>
              <a:buClrTx/>
              <a:buSzTx/>
              <a:buFontTx/>
              <a:buNone/>
              <a:tabLst/>
              <a:defRPr/>
            </a:pPr>
            <a:r>
              <a:rPr kumimoji="0" lang="en-AU" sz="1200" b="0" i="0" u="none" strike="noStrike" kern="1200" cap="none" spc="0" normalizeH="0" baseline="0" noProof="0" dirty="0">
                <a:ln>
                  <a:noFill/>
                </a:ln>
                <a:solidFill>
                  <a:srgbClr val="53565A"/>
                </a:solidFill>
                <a:effectLst/>
                <a:uLnTx/>
                <a:uFillTx/>
                <a:latin typeface="Arial" panose="020B0604020202020204"/>
                <a:ea typeface="Segoe UI" panose="020B0502040204020203" pitchFamily="34" charset="0"/>
                <a:cs typeface="Times New Roman" panose="02020603050405020304" pitchFamily="18" charset="0"/>
              </a:rPr>
              <a:t>[Software name]</a:t>
            </a:r>
            <a:endParaRPr kumimoji="0" lang="en-AU" sz="1100" b="0" i="0" u="none" strike="noStrike" kern="1200" cap="none" spc="0" normalizeH="0" baseline="0" noProof="0" dirty="0">
              <a:ln>
                <a:noFill/>
              </a:ln>
              <a:solidFill>
                <a:srgbClr val="53565A"/>
              </a:solidFill>
              <a:effectLst/>
              <a:uLnTx/>
              <a:uFillTx/>
              <a:latin typeface="Arial" panose="020B0604020202020204"/>
              <a:ea typeface="Segoe UI" panose="020B0502040204020203" pitchFamily="34" charset="0"/>
              <a:cs typeface="Times New Roman" panose="02020603050405020304" pitchFamily="18" charset="0"/>
            </a:endParaRPr>
          </a:p>
        </p:txBody>
      </p:sp>
      <p:sp>
        <p:nvSpPr>
          <p:cNvPr id="41" name="TextBox 40">
            <a:extLst>
              <a:ext uri="{FF2B5EF4-FFF2-40B4-BE49-F238E27FC236}">
                <a16:creationId xmlns:a16="http://schemas.microsoft.com/office/drawing/2014/main" id="{2CC5B1C4-ACF6-2B5C-91C8-E4EBADFB858F}"/>
              </a:ext>
            </a:extLst>
          </p:cNvPr>
          <p:cNvSpPr txBox="1">
            <a:spLocks/>
          </p:cNvSpPr>
          <p:nvPr/>
        </p:nvSpPr>
        <p:spPr>
          <a:xfrm>
            <a:off x="2555875" y="2038042"/>
            <a:ext cx="2549525" cy="733372"/>
          </a:xfrm>
          <a:prstGeom prst="rect">
            <a:avLst/>
          </a:prstGeom>
          <a:solidFill>
            <a:schemeClr val="bg1">
              <a:lumMod val="95000"/>
            </a:schemeClr>
          </a:solidFill>
        </p:spPr>
        <p:txBody>
          <a:bodyPr wrap="square" anchor="ctr">
            <a:noAutofit/>
          </a:bodyPr>
          <a:lstStyle/>
          <a:p>
            <a:pPr marL="0" marR="0" lvl="0" indent="0" algn="ctr" defTabSz="1007943" rtl="0" eaLnBrk="1" fontAlgn="auto" latinLnBrk="0" hangingPunct="1">
              <a:lnSpc>
                <a:spcPct val="107000"/>
              </a:lnSpc>
              <a:spcBef>
                <a:spcPts val="0"/>
              </a:spcBef>
              <a:spcAft>
                <a:spcPts val="300"/>
              </a:spcAft>
              <a:buClrTx/>
              <a:buSzTx/>
              <a:buFontTx/>
              <a:buNone/>
              <a:tabLst/>
              <a:defRPr/>
            </a:pPr>
            <a:r>
              <a:rPr kumimoji="0" lang="en-AU" sz="1050" b="0" i="0" u="none" strike="noStrike" kern="1200" cap="none" spc="0" normalizeH="0" baseline="0" noProof="0" dirty="0">
                <a:ln>
                  <a:noFill/>
                </a:ln>
                <a:solidFill>
                  <a:schemeClr val="accent6"/>
                </a:solidFill>
                <a:effectLst/>
                <a:uLnTx/>
                <a:uFillTx/>
                <a:latin typeface="Arial" panose="020B0604020202020204"/>
                <a:ea typeface="Segoe UI" panose="020B0502040204020203" pitchFamily="34" charset="0"/>
                <a:cs typeface="Times New Roman" panose="02020603050405020304" pitchFamily="18" charset="0"/>
              </a:rPr>
              <a:t>To send, track and respond to referrals</a:t>
            </a:r>
          </a:p>
          <a:p>
            <a:pPr marL="0" marR="0" lvl="0" indent="0" algn="ctr" defTabSz="1007943" rtl="0" eaLnBrk="1" fontAlgn="auto" latinLnBrk="0" hangingPunct="1">
              <a:lnSpc>
                <a:spcPct val="107000"/>
              </a:lnSpc>
              <a:spcBef>
                <a:spcPts val="0"/>
              </a:spcBef>
              <a:spcAft>
                <a:spcPts val="300"/>
              </a:spcAft>
              <a:buClrTx/>
              <a:buSzTx/>
              <a:buFontTx/>
              <a:buNone/>
              <a:tabLst/>
              <a:defRPr/>
            </a:pPr>
            <a:r>
              <a:rPr kumimoji="0" lang="en-AU" sz="1050" b="0" i="0" u="none" strike="noStrike" kern="1200" cap="none" spc="0" normalizeH="0" baseline="0" noProof="0" dirty="0">
                <a:ln>
                  <a:noFill/>
                </a:ln>
                <a:solidFill>
                  <a:schemeClr val="accent6"/>
                </a:solidFill>
                <a:effectLst/>
                <a:uLnTx/>
                <a:uFillTx/>
                <a:latin typeface="Arial" panose="020B0604020202020204"/>
                <a:ea typeface="Segoe UI" panose="020B0502040204020203" pitchFamily="34" charset="0"/>
                <a:cs typeface="Times New Roman" panose="02020603050405020304" pitchFamily="18" charset="0"/>
              </a:rPr>
              <a:t>To track changes and comments</a:t>
            </a:r>
          </a:p>
        </p:txBody>
      </p:sp>
      <p:sp>
        <p:nvSpPr>
          <p:cNvPr id="6" name="TextBox 5">
            <a:extLst>
              <a:ext uri="{FF2B5EF4-FFF2-40B4-BE49-F238E27FC236}">
                <a16:creationId xmlns:a16="http://schemas.microsoft.com/office/drawing/2014/main" id="{DA4919AB-A7C3-77E7-7119-0A6C13ACF49A}"/>
              </a:ext>
            </a:extLst>
          </p:cNvPr>
          <p:cNvSpPr txBox="1">
            <a:spLocks/>
          </p:cNvSpPr>
          <p:nvPr/>
        </p:nvSpPr>
        <p:spPr>
          <a:xfrm>
            <a:off x="5132386" y="1268820"/>
            <a:ext cx="2544043" cy="738664"/>
          </a:xfrm>
          <a:prstGeom prst="rect">
            <a:avLst/>
          </a:prstGeom>
          <a:solidFill>
            <a:schemeClr val="accent4"/>
          </a:solidFill>
        </p:spPr>
        <p:txBody>
          <a:bodyPr wrap="square" anchor="ctr">
            <a:noAutofit/>
          </a:bodyPr>
          <a:lstStyle/>
          <a:p>
            <a:pPr marL="0" marR="0" lvl="0" indent="0" algn="ctr" defTabSz="1007943" rtl="0" eaLnBrk="1" fontAlgn="auto" latinLnBrk="0" hangingPunct="1">
              <a:lnSpc>
                <a:spcPct val="107000"/>
              </a:lnSpc>
              <a:spcBef>
                <a:spcPts val="0"/>
              </a:spcBef>
              <a:spcAft>
                <a:spcPts val="600"/>
              </a:spcAft>
              <a:buClrTx/>
              <a:buSzTx/>
              <a:buFontTx/>
              <a:buNone/>
              <a:tabLst/>
              <a:defRPr/>
            </a:pPr>
            <a:r>
              <a:rPr kumimoji="0" lang="en-AU" sz="1200" b="0" i="0" u="none" strike="noStrike" kern="1200" cap="none" spc="0" normalizeH="0" baseline="0" noProof="0" dirty="0">
                <a:ln>
                  <a:noFill/>
                </a:ln>
                <a:solidFill>
                  <a:srgbClr val="53565A"/>
                </a:solidFill>
                <a:effectLst/>
                <a:uLnTx/>
                <a:uFillTx/>
                <a:latin typeface="Arial" panose="020B0604020202020204"/>
                <a:ea typeface="Segoe UI" panose="020B0502040204020203" pitchFamily="34" charset="0"/>
                <a:cs typeface="Times New Roman" panose="02020603050405020304" pitchFamily="18" charset="0"/>
              </a:rPr>
              <a:t>Email</a:t>
            </a:r>
          </a:p>
        </p:txBody>
      </p:sp>
      <p:sp>
        <p:nvSpPr>
          <p:cNvPr id="42" name="TextBox 41">
            <a:extLst>
              <a:ext uri="{FF2B5EF4-FFF2-40B4-BE49-F238E27FC236}">
                <a16:creationId xmlns:a16="http://schemas.microsoft.com/office/drawing/2014/main" id="{E18D5C1B-C1BD-3DE3-4308-090D25A101FD}"/>
              </a:ext>
            </a:extLst>
          </p:cNvPr>
          <p:cNvSpPr txBox="1">
            <a:spLocks/>
          </p:cNvSpPr>
          <p:nvPr/>
        </p:nvSpPr>
        <p:spPr>
          <a:xfrm>
            <a:off x="5132386" y="2038042"/>
            <a:ext cx="2544043" cy="738664"/>
          </a:xfrm>
          <a:prstGeom prst="rect">
            <a:avLst/>
          </a:prstGeom>
          <a:solidFill>
            <a:schemeClr val="bg1">
              <a:lumMod val="95000"/>
            </a:schemeClr>
          </a:solidFill>
        </p:spPr>
        <p:txBody>
          <a:bodyPr wrap="square" anchor="ctr">
            <a:noAutofit/>
          </a:bodyPr>
          <a:lstStyle/>
          <a:p>
            <a:pPr marL="0" marR="0" lvl="0" indent="0" algn="ctr" defTabSz="1007943" rtl="0" eaLnBrk="1" fontAlgn="auto" latinLnBrk="0" hangingPunct="1">
              <a:lnSpc>
                <a:spcPct val="107000"/>
              </a:lnSpc>
              <a:spcBef>
                <a:spcPts val="0"/>
              </a:spcBef>
              <a:spcAft>
                <a:spcPts val="600"/>
              </a:spcAft>
              <a:buClrTx/>
              <a:buSzTx/>
              <a:buFontTx/>
              <a:buNone/>
              <a:tabLst/>
              <a:defRPr/>
            </a:pPr>
            <a:r>
              <a:rPr kumimoji="0" lang="en-AU" sz="1050" b="0" i="0" u="none" strike="noStrike" kern="1200" cap="none" spc="0" normalizeH="0" baseline="0" noProof="0" dirty="0">
                <a:ln>
                  <a:noFill/>
                </a:ln>
                <a:solidFill>
                  <a:schemeClr val="accent6"/>
                </a:solidFill>
                <a:effectLst/>
                <a:uLnTx/>
                <a:uFillTx/>
                <a:latin typeface="Arial" panose="020B0604020202020204"/>
                <a:ea typeface="Segoe UI" panose="020B0502040204020203" pitchFamily="34" charset="0"/>
                <a:cs typeface="Times New Roman" panose="02020603050405020304" pitchFamily="18" charset="0"/>
              </a:rPr>
              <a:t>For informal </a:t>
            </a:r>
            <a:br>
              <a:rPr kumimoji="0" lang="en-AU" sz="1050" b="0" i="0" u="none" strike="noStrike" kern="1200" cap="none" spc="0" normalizeH="0" baseline="0" noProof="0" dirty="0">
                <a:ln>
                  <a:noFill/>
                </a:ln>
                <a:solidFill>
                  <a:schemeClr val="accent6"/>
                </a:solidFill>
                <a:effectLst/>
                <a:uLnTx/>
                <a:uFillTx/>
                <a:latin typeface="Arial" panose="020B0604020202020204"/>
                <a:ea typeface="Segoe UI" panose="020B0502040204020203" pitchFamily="34" charset="0"/>
                <a:cs typeface="Times New Roman" panose="02020603050405020304" pitchFamily="18" charset="0"/>
              </a:rPr>
            </a:br>
            <a:r>
              <a:rPr kumimoji="0" lang="en-AU" sz="1050" b="0" i="0" u="none" strike="noStrike" kern="1200" cap="none" spc="0" normalizeH="0" baseline="0" noProof="0" dirty="0">
                <a:ln>
                  <a:noFill/>
                </a:ln>
                <a:solidFill>
                  <a:schemeClr val="accent6"/>
                </a:solidFill>
                <a:effectLst/>
                <a:uLnTx/>
                <a:uFillTx/>
                <a:latin typeface="Arial" panose="020B0604020202020204"/>
                <a:ea typeface="Segoe UI" panose="020B0502040204020203" pitchFamily="34" charset="0"/>
                <a:cs typeface="Times New Roman" panose="02020603050405020304" pitchFamily="18" charset="0"/>
              </a:rPr>
              <a:t>contextual conversations</a:t>
            </a:r>
          </a:p>
        </p:txBody>
      </p:sp>
      <p:sp>
        <p:nvSpPr>
          <p:cNvPr id="7" name="TextBox 6">
            <a:extLst>
              <a:ext uri="{FF2B5EF4-FFF2-40B4-BE49-F238E27FC236}">
                <a16:creationId xmlns:a16="http://schemas.microsoft.com/office/drawing/2014/main" id="{C6D653F3-9EE5-D7E1-2698-B4418DF00B8A}"/>
              </a:ext>
            </a:extLst>
          </p:cNvPr>
          <p:cNvSpPr txBox="1">
            <a:spLocks/>
          </p:cNvSpPr>
          <p:nvPr/>
        </p:nvSpPr>
        <p:spPr>
          <a:xfrm>
            <a:off x="7703416" y="1263531"/>
            <a:ext cx="2549525" cy="738661"/>
          </a:xfrm>
          <a:prstGeom prst="rect">
            <a:avLst/>
          </a:prstGeom>
          <a:solidFill>
            <a:schemeClr val="accent6"/>
          </a:solidFill>
        </p:spPr>
        <p:txBody>
          <a:bodyPr wrap="square" anchor="ctr">
            <a:noAutofit/>
          </a:bodyPr>
          <a:lstStyle/>
          <a:p>
            <a:pPr marL="0" marR="0" lvl="0" indent="0" algn="ctr" defTabSz="1007943" rtl="0" eaLnBrk="1" fontAlgn="auto" latinLnBrk="0" hangingPunct="1">
              <a:lnSpc>
                <a:spcPct val="107000"/>
              </a:lnSpc>
              <a:spcBef>
                <a:spcPts val="0"/>
              </a:spcBef>
              <a:spcAft>
                <a:spcPts val="600"/>
              </a:spcAft>
              <a:buClrTx/>
              <a:buSzTx/>
              <a:buFontTx/>
              <a:buNone/>
              <a:tabLst/>
              <a:defRPr/>
            </a:pPr>
            <a:r>
              <a:rPr kumimoji="0" lang="en-AU" sz="1200" b="0" i="0" u="none" strike="noStrike" kern="1200" cap="none" spc="0" normalizeH="0" baseline="0" noProof="0" dirty="0">
                <a:ln>
                  <a:noFill/>
                </a:ln>
                <a:solidFill>
                  <a:srgbClr val="FFFFFF"/>
                </a:solidFill>
                <a:effectLst/>
                <a:uLnTx/>
                <a:uFillTx/>
                <a:latin typeface="Arial" panose="020B0604020202020204"/>
                <a:ea typeface="Segoe UI" panose="020B0502040204020203" pitchFamily="34" charset="0"/>
                <a:cs typeface="Times New Roman" panose="02020603050405020304" pitchFamily="18" charset="0"/>
              </a:rPr>
              <a:t>[Document management name]</a:t>
            </a:r>
            <a:endParaRPr kumimoji="0" lang="en-AU" sz="1200" b="0" i="0" u="none" strike="noStrike" kern="1200" cap="none" spc="0" normalizeH="0" baseline="0" noProof="0" dirty="0">
              <a:ln>
                <a:noFill/>
              </a:ln>
              <a:solidFill>
                <a:prstClr val="white"/>
              </a:solidFill>
              <a:effectLst/>
              <a:uLnTx/>
              <a:uFillTx/>
              <a:latin typeface="Arial" panose="020B0604020202020204"/>
              <a:ea typeface="Segoe UI" panose="020B0502040204020203" pitchFamily="34" charset="0"/>
              <a:cs typeface="Times New Roman" panose="02020603050405020304" pitchFamily="18" charset="0"/>
            </a:endParaRPr>
          </a:p>
        </p:txBody>
      </p:sp>
      <p:sp>
        <p:nvSpPr>
          <p:cNvPr id="43" name="TextBox 42">
            <a:extLst>
              <a:ext uri="{FF2B5EF4-FFF2-40B4-BE49-F238E27FC236}">
                <a16:creationId xmlns:a16="http://schemas.microsoft.com/office/drawing/2014/main" id="{06DC4A67-E1F6-3547-2C00-C213A9DF31B4}"/>
              </a:ext>
            </a:extLst>
          </p:cNvPr>
          <p:cNvSpPr txBox="1">
            <a:spLocks/>
          </p:cNvSpPr>
          <p:nvPr/>
        </p:nvSpPr>
        <p:spPr>
          <a:xfrm>
            <a:off x="7703416" y="2032753"/>
            <a:ext cx="2549525" cy="738661"/>
          </a:xfrm>
          <a:prstGeom prst="rect">
            <a:avLst/>
          </a:prstGeom>
          <a:solidFill>
            <a:schemeClr val="bg1">
              <a:lumMod val="95000"/>
            </a:schemeClr>
          </a:solidFill>
        </p:spPr>
        <p:txBody>
          <a:bodyPr wrap="square" anchor="ctr">
            <a:noAutofit/>
          </a:bodyPr>
          <a:lstStyle/>
          <a:p>
            <a:pPr marL="0" marR="0" lvl="0" indent="0" algn="ctr" defTabSz="1007943" rtl="0" eaLnBrk="1" fontAlgn="auto" latinLnBrk="0" hangingPunct="1">
              <a:lnSpc>
                <a:spcPct val="107000"/>
              </a:lnSpc>
              <a:spcBef>
                <a:spcPts val="0"/>
              </a:spcBef>
              <a:spcAft>
                <a:spcPts val="600"/>
              </a:spcAft>
              <a:buClrTx/>
              <a:buSzTx/>
              <a:buFontTx/>
              <a:buNone/>
              <a:tabLst/>
              <a:defRPr/>
            </a:pPr>
            <a:r>
              <a:rPr kumimoji="0" lang="en-AU" sz="1050" b="0" i="0" u="none" strike="noStrike" kern="1200" cap="none" spc="0" normalizeH="0" baseline="0" noProof="0" dirty="0">
                <a:ln>
                  <a:noFill/>
                </a:ln>
                <a:solidFill>
                  <a:schemeClr val="accent6"/>
                </a:solidFill>
                <a:effectLst/>
                <a:uLnTx/>
                <a:uFillTx/>
                <a:latin typeface="Arial" panose="020B0604020202020204"/>
                <a:ea typeface="Segoe UI" panose="020B0502040204020203" pitchFamily="34" charset="0"/>
                <a:cs typeface="Times New Roman" panose="02020603050405020304" pitchFamily="18" charset="0"/>
              </a:rPr>
              <a:t>A management system to organise </a:t>
            </a:r>
            <a:br>
              <a:rPr kumimoji="0" lang="en-AU" sz="1050" b="0" i="0" u="none" strike="noStrike" kern="1200" cap="none" spc="0" normalizeH="0" baseline="0" noProof="0" dirty="0">
                <a:ln>
                  <a:noFill/>
                </a:ln>
                <a:solidFill>
                  <a:schemeClr val="accent6"/>
                </a:solidFill>
                <a:effectLst/>
                <a:uLnTx/>
                <a:uFillTx/>
                <a:latin typeface="Arial" panose="020B0604020202020204"/>
                <a:ea typeface="Segoe UI" panose="020B0502040204020203" pitchFamily="34" charset="0"/>
                <a:cs typeface="Times New Roman" panose="02020603050405020304" pitchFamily="18" charset="0"/>
              </a:rPr>
            </a:br>
            <a:r>
              <a:rPr kumimoji="0" lang="en-AU" sz="1050" b="0" i="0" u="none" strike="noStrike" kern="1200" cap="none" spc="0" normalizeH="0" baseline="0" noProof="0" dirty="0">
                <a:ln>
                  <a:noFill/>
                </a:ln>
                <a:solidFill>
                  <a:schemeClr val="accent6"/>
                </a:solidFill>
                <a:effectLst/>
                <a:uLnTx/>
                <a:uFillTx/>
                <a:latin typeface="Arial" panose="020B0604020202020204"/>
                <a:ea typeface="Segoe UI" panose="020B0502040204020203" pitchFamily="34" charset="0"/>
                <a:cs typeface="Times New Roman" panose="02020603050405020304" pitchFamily="18" charset="0"/>
              </a:rPr>
              <a:t>and manage documents</a:t>
            </a:r>
          </a:p>
        </p:txBody>
      </p:sp>
      <p:sp>
        <p:nvSpPr>
          <p:cNvPr id="3" name="TextBox 2">
            <a:extLst>
              <a:ext uri="{FF2B5EF4-FFF2-40B4-BE49-F238E27FC236}">
                <a16:creationId xmlns:a16="http://schemas.microsoft.com/office/drawing/2014/main" id="{A5174111-DCED-C125-1B67-77FC1D30D9DD}"/>
              </a:ext>
            </a:extLst>
          </p:cNvPr>
          <p:cNvSpPr txBox="1"/>
          <p:nvPr/>
        </p:nvSpPr>
        <p:spPr>
          <a:xfrm>
            <a:off x="6827352" y="6763046"/>
            <a:ext cx="3499090" cy="600164"/>
          </a:xfrm>
          <a:prstGeom prst="rect">
            <a:avLst/>
          </a:prstGeom>
          <a:noFill/>
          <a:ln>
            <a:solidFill>
              <a:srgbClr val="FF0000"/>
            </a:solidFill>
          </a:ln>
        </p:spPr>
        <p:txBody>
          <a:bodyPr wrap="square" lIns="91440" tIns="45720" rIns="91440" bIns="45720" rtlCol="0" anchor="t">
            <a:spAutoFit/>
          </a:bodyPr>
          <a:lstStyle/>
          <a:p>
            <a:r>
              <a:rPr lang="en-AU" sz="1100" b="1" dirty="0">
                <a:solidFill>
                  <a:srgbClr val="FF0000"/>
                </a:solidFill>
              </a:rPr>
              <a:t>Implementation notes: </a:t>
            </a:r>
            <a:r>
              <a:rPr lang="en-AU" sz="1100" dirty="0">
                <a:solidFill>
                  <a:srgbClr val="FF0000"/>
                </a:solidFill>
              </a:rPr>
              <a:t>Tools, document management and communication streams to be updated to suit systems your Council utilises</a:t>
            </a:r>
          </a:p>
        </p:txBody>
      </p:sp>
    </p:spTree>
    <p:extLst>
      <p:ext uri="{BB962C8B-B14F-4D97-AF65-F5344CB8AC3E}">
        <p14:creationId xmlns:p14="http://schemas.microsoft.com/office/powerpoint/2010/main" val="2771342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partment of Transport and Planning">
  <a:themeElements>
    <a:clrScheme name="DoTP-Reshuffle">
      <a:dk1>
        <a:sysClr val="windowText" lastClr="000000"/>
      </a:dk1>
      <a:lt1>
        <a:sysClr val="window" lastClr="FFFFFF"/>
      </a:lt1>
      <a:dk2>
        <a:srgbClr val="00B2A9"/>
      </a:dk2>
      <a:lt2>
        <a:srgbClr val="E1EEF9"/>
      </a:lt2>
      <a:accent1>
        <a:srgbClr val="CEDC00"/>
      </a:accent1>
      <a:accent2>
        <a:srgbClr val="FF9E1B"/>
      </a:accent2>
      <a:accent3>
        <a:srgbClr val="59CDC7"/>
      </a:accent3>
      <a:accent4>
        <a:srgbClr val="B2E8E5"/>
      </a:accent4>
      <a:accent5>
        <a:srgbClr val="009CA1"/>
      </a:accent5>
      <a:accent6>
        <a:srgbClr val="53565A"/>
      </a:accent6>
      <a:hlink>
        <a:srgbClr val="000000"/>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A4 Landscape" id="{C1D1ACAD-3DD0-482A-AB5C-E3CF27147607}" vid="{08965BDC-6F87-41CE-B5D6-178E738BD86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42BB819AAA975489E33CF0F50496490" ma:contentTypeVersion="10" ma:contentTypeDescription="Create a new document." ma:contentTypeScope="" ma:versionID="e8aed1a0a979e0d4bd7ee35307791cd5">
  <xsd:schema xmlns:xsd="http://www.w3.org/2001/XMLSchema" xmlns:xs="http://www.w3.org/2001/XMLSchema" xmlns:p="http://schemas.microsoft.com/office/2006/metadata/properties" xmlns:ns2="3dcb25b9-5e2a-4cbc-a1d6-f53ee7652e42" targetNamespace="http://schemas.microsoft.com/office/2006/metadata/properties" ma:root="true" ma:fieldsID="bdac9d7d3ad936dc420253b2d2cf3a3d" ns2:_="">
    <xsd:import namespace="3dcb25b9-5e2a-4cbc-a1d6-f53ee7652e42"/>
    <xsd:element name="properties">
      <xsd:complexType>
        <xsd:sequence>
          <xsd:element name="documentManagement">
            <xsd:complexType>
              <xsd:all>
                <xsd:element ref="ns2:lcf76f155ced4ddcb4097134ff3c332f" minOccurs="0"/>
                <xsd:element ref="ns2:MediaServiceMetadata" minOccurs="0"/>
                <xsd:element ref="ns2:MediaServiceFastMetadata" minOccurs="0"/>
                <xsd:element ref="ns2:MediaServiceDateTaken" minOccurs="0"/>
                <xsd:element ref="ns2:MediaServiceOCR" minOccurs="0"/>
                <xsd:element ref="ns2:MediaServiceGenerationTime" minOccurs="0"/>
                <xsd:element ref="ns2:MediaServiceEventHashCode" minOccurs="0"/>
                <xsd:element ref="ns2:MediaServiceObjectDetectorVersion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cb25b9-5e2a-4cbc-a1d6-f53ee7652e42"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62a39602-bab5-4ac0-a14f-71daef3a2535" ma:termSetId="09814cd3-568e-fe90-9814-8d621ff8fb84" ma:anchorId="fba54fb3-c3e1-fe81-a776-ca4b69148c4d" ma:open="true" ma:isKeyword="false">
      <xsd:complexType>
        <xsd:sequence>
          <xsd:element ref="pc:Terms" minOccurs="0" maxOccurs="1"/>
        </xsd:sequence>
      </xsd:complex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3dcb25b9-5e2a-4cbc-a1d6-f53ee7652e42">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D95502D-380B-4CB7-8B03-BD2E8C90A973}">
  <ds:schemaRefs>
    <ds:schemaRef ds:uri="http://schemas.microsoft.com/sharepoint/v3/contenttype/forms"/>
  </ds:schemaRefs>
</ds:datastoreItem>
</file>

<file path=customXml/itemProps2.xml><?xml version="1.0" encoding="utf-8"?>
<ds:datastoreItem xmlns:ds="http://schemas.openxmlformats.org/officeDocument/2006/customXml" ds:itemID="{3EFCAEEB-9072-4B3B-91D8-05D864AA7F8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cb25b9-5e2a-4cbc-a1d6-f53ee7652e4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46A44D6-8EE8-46A4-B93B-38D5021E5147}">
  <ds:schemaRefs>
    <ds:schemaRef ds:uri="http://schemas.microsoft.com/office/2006/documentManagement/types"/>
    <ds:schemaRef ds:uri="http://purl.org/dc/elements/1.1/"/>
    <ds:schemaRef ds:uri="http://www.w3.org/XML/1998/namespace"/>
    <ds:schemaRef ds:uri="http://schemas.microsoft.com/office/infopath/2007/PartnerControls"/>
    <ds:schemaRef ds:uri="http://purl.org/dc/dcmitype/"/>
    <ds:schemaRef ds:uri="http://schemas.microsoft.com/office/2006/metadata/properties"/>
    <ds:schemaRef ds:uri="3dcb25b9-5e2a-4cbc-a1d6-f53ee7652e42"/>
    <ds:schemaRef ds:uri="http://schemas.openxmlformats.org/package/2006/metadata/core-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PPT A4 Landscape</Template>
  <TotalTime>317</TotalTime>
  <Words>974</Words>
  <Application>Microsoft Office PowerPoint</Application>
  <PresentationFormat>Custom</PresentationFormat>
  <Paragraphs>67</Paragraphs>
  <Slides>4</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0" baseType="lpstr">
      <vt:lpstr>Arial</vt:lpstr>
      <vt:lpstr>Calibri</vt:lpstr>
      <vt:lpstr>Roboto</vt:lpstr>
      <vt:lpstr>Segoe UI Semibold</vt:lpstr>
      <vt:lpstr>Department of Transport and Planning</vt:lpstr>
      <vt:lpstr>think-cell Slide</vt:lpstr>
      <vt:lpstr>Planning Applications: Charter for Internal Referrals</vt:lpstr>
      <vt:lpstr>Our principles</vt:lpstr>
      <vt:lpstr>The internal referrals process</vt:lpstr>
      <vt:lpstr>What systems and tools do we use, and for what?</vt:lpstr>
    </vt:vector>
  </TitlesOfParts>
  <Company>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rter for Internal Referrals</dc:title>
  <dc:creator>Alannah Tran</dc:creator>
  <cp:lastModifiedBy>Alannah Tran</cp:lastModifiedBy>
  <cp:revision>9</cp:revision>
  <dcterms:created xsi:type="dcterms:W3CDTF">2023-06-15T02:29:31Z</dcterms:created>
  <dcterms:modified xsi:type="dcterms:W3CDTF">2023-07-31T01:05: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2BB819AAA975489E33CF0F50496490</vt:lpwstr>
  </property>
  <property fmtid="{D5CDD505-2E9C-101B-9397-08002B2CF9AE}" pid="3" name="MSIP_Label_4257e2ab-f512-40e2-9c9a-c64247360765_Enabled">
    <vt:lpwstr>true</vt:lpwstr>
  </property>
  <property fmtid="{D5CDD505-2E9C-101B-9397-08002B2CF9AE}" pid="4" name="MSIP_Label_4257e2ab-f512-40e2-9c9a-c64247360765_SetDate">
    <vt:lpwstr>2023-06-08T00:52:44Z</vt:lpwstr>
  </property>
  <property fmtid="{D5CDD505-2E9C-101B-9397-08002B2CF9AE}" pid="5" name="MSIP_Label_4257e2ab-f512-40e2-9c9a-c64247360765_Method">
    <vt:lpwstr>Privileged</vt:lpwstr>
  </property>
  <property fmtid="{D5CDD505-2E9C-101B-9397-08002B2CF9AE}" pid="6" name="MSIP_Label_4257e2ab-f512-40e2-9c9a-c64247360765_Name">
    <vt:lpwstr>OFFICIAL</vt:lpwstr>
  </property>
  <property fmtid="{D5CDD505-2E9C-101B-9397-08002B2CF9AE}" pid="7" name="MSIP_Label_4257e2ab-f512-40e2-9c9a-c64247360765_SiteId">
    <vt:lpwstr>e8bdd6f7-fc18-4e48-a554-7f547927223b</vt:lpwstr>
  </property>
  <property fmtid="{D5CDD505-2E9C-101B-9397-08002B2CF9AE}" pid="8" name="MSIP_Label_4257e2ab-f512-40e2-9c9a-c64247360765_ActionId">
    <vt:lpwstr>36312799-0eca-438f-b5d5-b553404ec4a3</vt:lpwstr>
  </property>
  <property fmtid="{D5CDD505-2E9C-101B-9397-08002B2CF9AE}" pid="9" name="MSIP_Label_4257e2ab-f512-40e2-9c9a-c64247360765_ContentBits">
    <vt:lpwstr>2</vt:lpwstr>
  </property>
  <property fmtid="{D5CDD505-2E9C-101B-9397-08002B2CF9AE}" pid="10" name="MediaServiceImageTags">
    <vt:lpwstr/>
  </property>
</Properties>
</file>